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charts/chart1.xml" ContentType="application/vnd.openxmlformats-officedocument.drawingml.chart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2"/>
  </p:sldMasterIdLst>
  <p:notesMasterIdLst>
    <p:notesMasterId r:id="rId13"/>
  </p:notesMasterIdLst>
  <p:handoutMasterIdLst>
    <p:handoutMasterId r:id="rId14"/>
  </p:handoutMasterIdLst>
  <p:sldIdLst>
    <p:sldId id="257" r:id="rId3"/>
    <p:sldId id="280" r:id="rId4"/>
    <p:sldId id="281" r:id="rId5"/>
    <p:sldId id="282" r:id="rId6"/>
    <p:sldId id="283" r:id="rId7"/>
    <p:sldId id="287" r:id="rId8"/>
    <p:sldId id="286" r:id="rId9"/>
    <p:sldId id="284" r:id="rId10"/>
    <p:sldId id="285" r:id="rId11"/>
    <p:sldId id="262" r:id="rId12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/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E4AD"/>
    <a:srgbClr val="F0D67E"/>
    <a:srgbClr val="FEFAC9"/>
    <a:srgbClr val="FDF69D"/>
    <a:srgbClr val="FBFCFF"/>
    <a:srgbClr val="FFFFFF"/>
    <a:srgbClr val="5959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9" autoAdjust="0"/>
    <p:restoredTop sz="94660"/>
  </p:normalViewPr>
  <p:slideViewPr>
    <p:cSldViewPr snapToGrid="0">
      <p:cViewPr>
        <p:scale>
          <a:sx n="79" d="100"/>
          <a:sy n="79" d="100"/>
        </p:scale>
        <p:origin x="-384" y="-3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95" d="100"/>
          <a:sy n="95" d="100"/>
        </p:scale>
        <p:origin x="272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1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2226438962681846E-3"/>
          <c:y val="2.3131672597864767E-2"/>
          <c:w val="0.9835547122074636"/>
          <c:h val="0.9537366548042703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E48A-4AE7-A151-4B6BC0CD8AD8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E48A-4AE7-A151-4B6BC0CD8AD8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E48A-4AE7-A151-4B6BC0CD8AD8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E48A-4AE7-A151-4B6BC0CD8AD8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E48A-4AE7-A151-4B6BC0CD8AD8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E48A-4AE7-A151-4B6BC0CD8AD8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E48A-4AE7-A151-4B6BC0CD8AD8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E48A-4AE7-A151-4B6BC0CD8AD8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E48A-4AE7-A151-4B6BC0CD8AD8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E48A-4AE7-A151-4B6BC0CD8AD8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A-E48A-4AE7-A151-4B6BC0CD8AD8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E48A-4AE7-A151-4B6BC0CD8AD8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C-E48A-4AE7-A151-4B6BC0CD8AD8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E48A-4AE7-A151-4B6BC0CD8AD8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E-E48A-4AE7-A151-4B6BC0CD8AD8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E48A-4AE7-A151-4B6BC0CD8AD8}"/>
              </c:ext>
            </c:extLst>
          </c:dPt>
          <c:dPt>
            <c:idx val="16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0-E48A-4AE7-A151-4B6BC0CD8AD8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1-E48A-4AE7-A151-4B6BC0CD8AD8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2-E48A-4AE7-A151-4B6BC0CD8AD8}"/>
              </c:ext>
            </c:extLst>
          </c:dPt>
          <c:dPt>
            <c:idx val="19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3-E48A-4AE7-A151-4B6BC0CD8AD8}"/>
              </c:ext>
            </c:extLst>
          </c:dPt>
          <c:dPt>
            <c:idx val="2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4-E48A-4AE7-A151-4B6BC0CD8AD8}"/>
              </c:ext>
            </c:extLst>
          </c:dPt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5-E48A-4AE7-A151-4B6BC0CD8AD8}"/>
              </c:ext>
            </c:extLst>
          </c:dPt>
          <c:dPt>
            <c:idx val="2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6-E48A-4AE7-A151-4B6BC0CD8AD8}"/>
              </c:ext>
            </c:extLst>
          </c:dPt>
          <c:dPt>
            <c:idx val="2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7-E48A-4AE7-A151-4B6BC0CD8AD8}"/>
              </c:ext>
            </c:extLst>
          </c:dPt>
          <c:dPt>
            <c:idx val="2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8-E48A-4AE7-A151-4B6BC0CD8AD8}"/>
              </c:ext>
            </c:extLst>
          </c:dPt>
          <c:dPt>
            <c:idx val="25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9-E48A-4AE7-A151-4B6BC0CD8AD8}"/>
              </c:ext>
            </c:extLst>
          </c:dPt>
          <c:dPt>
            <c:idx val="26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A-E48A-4AE7-A151-4B6BC0CD8AD8}"/>
              </c:ext>
            </c:extLst>
          </c:dPt>
          <c:dPt>
            <c:idx val="27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B-E48A-4AE7-A151-4B6BC0CD8AD8}"/>
              </c:ext>
            </c:extLst>
          </c:dPt>
          <c:dPt>
            <c:idx val="28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C-E48A-4AE7-A151-4B6BC0CD8AD8}"/>
              </c:ext>
            </c:extLst>
          </c:dPt>
          <c:dPt>
            <c:idx val="29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D-E48A-4AE7-A151-4B6BC0CD8AD8}"/>
              </c:ext>
            </c:extLst>
          </c:dPt>
          <c:dPt>
            <c:idx val="3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E-E48A-4AE7-A151-4B6BC0CD8AD8}"/>
              </c:ext>
            </c:extLst>
          </c:dPt>
          <c:dPt>
            <c:idx val="3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F-E48A-4AE7-A151-4B6BC0CD8AD8}"/>
              </c:ext>
            </c:extLst>
          </c:dPt>
          <c:dPt>
            <c:idx val="3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0-E48A-4AE7-A151-4B6BC0CD8AD8}"/>
              </c:ext>
            </c:extLst>
          </c:dPt>
          <c:dPt>
            <c:idx val="3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1-E48A-4AE7-A151-4B6BC0CD8AD8}"/>
              </c:ext>
            </c:extLst>
          </c:dPt>
          <c:dPt>
            <c:idx val="3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2-E48A-4AE7-A151-4B6BC0CD8AD8}"/>
              </c:ext>
            </c:extLst>
          </c:dPt>
          <c:dPt>
            <c:idx val="35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3-E48A-4AE7-A151-4B6BC0CD8AD8}"/>
              </c:ext>
            </c:extLst>
          </c:dPt>
          <c:dPt>
            <c:idx val="36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4-E48A-4AE7-A151-4B6BC0CD8AD8}"/>
              </c:ext>
            </c:extLst>
          </c:dPt>
          <c:dPt>
            <c:idx val="37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5-E48A-4AE7-A151-4B6BC0CD8AD8}"/>
              </c:ext>
            </c:extLst>
          </c:dPt>
          <c:dPt>
            <c:idx val="38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6-E48A-4AE7-A151-4B6BC0CD8AD8}"/>
              </c:ext>
            </c:extLst>
          </c:dPt>
          <c:dPt>
            <c:idx val="39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7-E48A-4AE7-A151-4B6BC0CD8AD8}"/>
              </c:ext>
            </c:extLst>
          </c:dPt>
          <c:dPt>
            <c:idx val="4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8-E48A-4AE7-A151-4B6BC0CD8AD8}"/>
              </c:ext>
            </c:extLst>
          </c:dPt>
          <c:dPt>
            <c:idx val="4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9-E48A-4AE7-A151-4B6BC0CD8AD8}"/>
              </c:ext>
            </c:extLst>
          </c:dPt>
          <c:dPt>
            <c:idx val="4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A-E48A-4AE7-A151-4B6BC0CD8AD8}"/>
              </c:ext>
            </c:extLst>
          </c:dPt>
          <c:dPt>
            <c:idx val="4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B-E48A-4AE7-A151-4B6BC0CD8AD8}"/>
              </c:ext>
            </c:extLst>
          </c:dPt>
          <c:dPt>
            <c:idx val="4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C-E48A-4AE7-A151-4B6BC0CD8AD8}"/>
              </c:ext>
            </c:extLst>
          </c:dPt>
          <c:dPt>
            <c:idx val="45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D-E48A-4AE7-A151-4B6BC0CD8AD8}"/>
              </c:ext>
            </c:extLst>
          </c:dPt>
          <c:dPt>
            <c:idx val="46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E-E48A-4AE7-A151-4B6BC0CD8AD8}"/>
              </c:ext>
            </c:extLst>
          </c:dPt>
          <c:dPt>
            <c:idx val="47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F-E48A-4AE7-A151-4B6BC0CD8AD8}"/>
              </c:ext>
            </c:extLst>
          </c:dPt>
          <c:dPt>
            <c:idx val="48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0-E48A-4AE7-A151-4B6BC0CD8AD8}"/>
              </c:ext>
            </c:extLst>
          </c:dPt>
          <c:dPt>
            <c:idx val="49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1-E48A-4AE7-A151-4B6BC0CD8AD8}"/>
              </c:ext>
            </c:extLst>
          </c:dPt>
          <c:dPt>
            <c:idx val="5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2-E48A-4AE7-A151-4B6BC0CD8AD8}"/>
              </c:ext>
            </c:extLst>
          </c:dPt>
          <c:dPt>
            <c:idx val="5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3-E48A-4AE7-A151-4B6BC0CD8AD8}"/>
              </c:ext>
            </c:extLst>
          </c:dPt>
          <c:dPt>
            <c:idx val="5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4-E48A-4AE7-A151-4B6BC0CD8AD8}"/>
              </c:ext>
            </c:extLst>
          </c:dPt>
          <c:dPt>
            <c:idx val="5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5-E48A-4AE7-A151-4B6BC0CD8AD8}"/>
              </c:ext>
            </c:extLst>
          </c:dPt>
          <c:dPt>
            <c:idx val="5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6-E48A-4AE7-A151-4B6BC0CD8AD8}"/>
              </c:ext>
            </c:extLst>
          </c:dPt>
          <c:dPt>
            <c:idx val="55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7-E48A-4AE7-A151-4B6BC0CD8AD8}"/>
              </c:ext>
            </c:extLst>
          </c:dPt>
          <c:dPt>
            <c:idx val="56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8-E48A-4AE7-A151-4B6BC0CD8AD8}"/>
              </c:ext>
            </c:extLst>
          </c:dPt>
          <c:dPt>
            <c:idx val="57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9-E48A-4AE7-A151-4B6BC0CD8AD8}"/>
              </c:ext>
            </c:extLst>
          </c:dPt>
          <c:dPt>
            <c:idx val="58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A-E48A-4AE7-A151-4B6BC0CD8AD8}"/>
              </c:ext>
            </c:extLst>
          </c:dPt>
          <c:dPt>
            <c:idx val="59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B-E48A-4AE7-A151-4B6BC0CD8AD8}"/>
              </c:ext>
            </c:extLst>
          </c:dPt>
          <c:dPt>
            <c:idx val="6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C-E48A-4AE7-A151-4B6BC0CD8AD8}"/>
              </c:ext>
            </c:extLst>
          </c:dPt>
          <c:dPt>
            <c:idx val="6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D-E48A-4AE7-A151-4B6BC0CD8AD8}"/>
              </c:ext>
            </c:extLst>
          </c:dPt>
          <c:dPt>
            <c:idx val="6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E-E48A-4AE7-A151-4B6BC0CD8AD8}"/>
              </c:ext>
            </c:extLst>
          </c:dPt>
          <c:dPt>
            <c:idx val="6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F-E48A-4AE7-A151-4B6BC0CD8AD8}"/>
              </c:ext>
            </c:extLst>
          </c:dPt>
          <c:dPt>
            <c:idx val="6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0-E48A-4AE7-A151-4B6BC0CD8AD8}"/>
              </c:ext>
            </c:extLst>
          </c:dPt>
          <c:dPt>
            <c:idx val="65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1-E48A-4AE7-A151-4B6BC0CD8AD8}"/>
              </c:ext>
            </c:extLst>
          </c:dPt>
          <c:dPt>
            <c:idx val="66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2-E48A-4AE7-A151-4B6BC0CD8AD8}"/>
              </c:ext>
            </c:extLst>
          </c:dPt>
          <c:dPt>
            <c:idx val="67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3-E48A-4AE7-A151-4B6BC0CD8AD8}"/>
              </c:ext>
            </c:extLst>
          </c:dPt>
          <c:dPt>
            <c:idx val="68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4-E48A-4AE7-A151-4B6BC0CD8AD8}"/>
              </c:ext>
            </c:extLst>
          </c:dPt>
          <c:dPt>
            <c:idx val="69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5-E48A-4AE7-A151-4B6BC0CD8AD8}"/>
              </c:ext>
            </c:extLst>
          </c:dPt>
          <c:val>
            <c:numRef>
              <c:f>Sheet1!$A$1:$EU$1</c:f>
              <c:numCache>
                <c:formatCode>General</c:formatCode>
                <c:ptCount val="151"/>
                <c:pt idx="0">
                  <c:v>0.33657257833365684</c:v>
                </c:pt>
                <c:pt idx="1">
                  <c:v>0.38417578733365687</c:v>
                </c:pt>
                <c:pt idx="2">
                  <c:v>0.43100325033365694</c:v>
                </c:pt>
                <c:pt idx="3">
                  <c:v>0.47775062133365687</c:v>
                </c:pt>
                <c:pt idx="4">
                  <c:v>0.52498831433365689</c:v>
                </c:pt>
                <c:pt idx="5">
                  <c:v>0.57316147533365669</c:v>
                </c:pt>
                <c:pt idx="6">
                  <c:v>0.6225848143336572</c:v>
                </c:pt>
                <c:pt idx="7">
                  <c:v>0.67344761833365707</c:v>
                </c:pt>
                <c:pt idx="8">
                  <c:v>0.72582824033365689</c:v>
                </c:pt>
                <c:pt idx="9">
                  <c:v>0.77971770733365675</c:v>
                </c:pt>
                <c:pt idx="10">
                  <c:v>0.83509127533365657</c:v>
                </c:pt>
                <c:pt idx="11">
                  <c:v>0.89198507333365651</c:v>
                </c:pt>
                <c:pt idx="12">
                  <c:v>0.9505623213336567</c:v>
                </c:pt>
                <c:pt idx="13">
                  <c:v>1.0111425063336568</c:v>
                </c:pt>
                <c:pt idx="14">
                  <c:v>1.0741198323336567</c:v>
                </c:pt>
                <c:pt idx="15">
                  <c:v>1.1397250703336566</c:v>
                </c:pt>
                <c:pt idx="16">
                  <c:v>1.2080641913336567</c:v>
                </c:pt>
                <c:pt idx="17">
                  <c:v>1.2789116643336564</c:v>
                </c:pt>
                <c:pt idx="18">
                  <c:v>1.3517409963336569</c:v>
                </c:pt>
                <c:pt idx="19">
                  <c:v>1.4258225253336567</c:v>
                </c:pt>
                <c:pt idx="20">
                  <c:v>1.5005786023336567</c:v>
                </c:pt>
                <c:pt idx="21">
                  <c:v>1.5759015903336566</c:v>
                </c:pt>
                <c:pt idx="22">
                  <c:v>1.6517921483336568</c:v>
                </c:pt>
                <c:pt idx="23">
                  <c:v>1.7279220793336565</c:v>
                </c:pt>
                <c:pt idx="24">
                  <c:v>1.8039357383336565</c:v>
                </c:pt>
                <c:pt idx="25">
                  <c:v>1.8796220343336572</c:v>
                </c:pt>
                <c:pt idx="26">
                  <c:v>1.9548083873336566</c:v>
                </c:pt>
                <c:pt idx="27">
                  <c:v>2.029647479333657</c:v>
                </c:pt>
                <c:pt idx="28">
                  <c:v>2.1046751593336568</c:v>
                </c:pt>
                <c:pt idx="29">
                  <c:v>2.1806477453336566</c:v>
                </c:pt>
                <c:pt idx="30">
                  <c:v>2.2581450263336569</c:v>
                </c:pt>
                <c:pt idx="31">
                  <c:v>2.3371381793336568</c:v>
                </c:pt>
                <c:pt idx="32">
                  <c:v>2.4175280863336566</c:v>
                </c:pt>
                <c:pt idx="33">
                  <c:v>2.4997107473336566</c:v>
                </c:pt>
                <c:pt idx="34">
                  <c:v>2.5841530773336565</c:v>
                </c:pt>
                <c:pt idx="35">
                  <c:v>2.6710632263336569</c:v>
                </c:pt>
                <c:pt idx="36">
                  <c:v>2.7607095603336571</c:v>
                </c:pt>
                <c:pt idx="37">
                  <c:v>2.8526635583336564</c:v>
                </c:pt>
                <c:pt idx="38">
                  <c:v>2.9455675543336568</c:v>
                </c:pt>
                <c:pt idx="39">
                  <c:v>3.0375829943336567</c:v>
                </c:pt>
                <c:pt idx="40">
                  <c:v>3.1273726013336569</c:v>
                </c:pt>
                <c:pt idx="41">
                  <c:v>3.2144309433336575</c:v>
                </c:pt>
                <c:pt idx="42">
                  <c:v>3.2990614533336569</c:v>
                </c:pt>
                <c:pt idx="43">
                  <c:v>3.3817391583336569</c:v>
                </c:pt>
                <c:pt idx="44">
                  <c:v>3.4632919883336575</c:v>
                </c:pt>
                <c:pt idx="45">
                  <c:v>3.5443544903336566</c:v>
                </c:pt>
                <c:pt idx="46">
                  <c:v>3.6250334913336566</c:v>
                </c:pt>
                <c:pt idx="47">
                  <c:v>3.7051872073336565</c:v>
                </c:pt>
                <c:pt idx="48">
                  <c:v>3.7849356353336567</c:v>
                </c:pt>
                <c:pt idx="49">
                  <c:v>3.8643805933336566</c:v>
                </c:pt>
                <c:pt idx="50">
                  <c:v>3.9436353663336563</c:v>
                </c:pt>
                <c:pt idx="51">
                  <c:v>4.0227680913336572</c:v>
                </c:pt>
                <c:pt idx="52">
                  <c:v>4.1019147323336567</c:v>
                </c:pt>
                <c:pt idx="53">
                  <c:v>4.1813267013336564</c:v>
                </c:pt>
                <c:pt idx="54">
                  <c:v>4.2613009513336566</c:v>
                </c:pt>
                <c:pt idx="55">
                  <c:v>4.3420485163336568</c:v>
                </c:pt>
                <c:pt idx="56">
                  <c:v>4.4236594773336568</c:v>
                </c:pt>
                <c:pt idx="57">
                  <c:v>4.5060882033336567</c:v>
                </c:pt>
                <c:pt idx="58">
                  <c:v>4.5892302323336569</c:v>
                </c:pt>
                <c:pt idx="59">
                  <c:v>4.6729085483336563</c:v>
                </c:pt>
                <c:pt idx="60">
                  <c:v>4.7569651483336575</c:v>
                </c:pt>
                <c:pt idx="61">
                  <c:v>4.8413357283336564</c:v>
                </c:pt>
                <c:pt idx="62">
                  <c:v>4.9259695173336571</c:v>
                </c:pt>
                <c:pt idx="63">
                  <c:v>5.0107236013336571</c:v>
                </c:pt>
                <c:pt idx="64">
                  <c:v>5.0954323193336561</c:v>
                </c:pt>
                <c:pt idx="65">
                  <c:v>5.1799385273336567</c:v>
                </c:pt>
                <c:pt idx="66">
                  <c:v>5.2641634943336575</c:v>
                </c:pt>
                <c:pt idx="67">
                  <c:v>5.3480004603336573</c:v>
                </c:pt>
                <c:pt idx="68">
                  <c:v>5.4312326733336569</c:v>
                </c:pt>
                <c:pt idx="69">
                  <c:v>5.5136097653336567</c:v>
                </c:pt>
                <c:pt idx="70">
                  <c:v>5.5949402893336568</c:v>
                </c:pt>
                <c:pt idx="71">
                  <c:v>5.6751072923336565</c:v>
                </c:pt>
                <c:pt idx="72">
                  <c:v>5.7540941373336567</c:v>
                </c:pt>
                <c:pt idx="73">
                  <c:v>5.8319418983336568</c:v>
                </c:pt>
                <c:pt idx="74">
                  <c:v>5.9087468153336573</c:v>
                </c:pt>
                <c:pt idx="75">
                  <c:v>5.9845790133336561</c:v>
                </c:pt>
                <c:pt idx="76">
                  <c:v>6.0594182113336572</c:v>
                </c:pt>
                <c:pt idx="77">
                  <c:v>6.1332198783336569</c:v>
                </c:pt>
                <c:pt idx="78">
                  <c:v>6.2060048613336569</c:v>
                </c:pt>
                <c:pt idx="79">
                  <c:v>6.2778022833336564</c:v>
                </c:pt>
                <c:pt idx="80">
                  <c:v>6.348628931333657</c:v>
                </c:pt>
                <c:pt idx="81">
                  <c:v>6.4184910143336573</c:v>
                </c:pt>
                <c:pt idx="82">
                  <c:v>6.4873694333336562</c:v>
                </c:pt>
                <c:pt idx="83">
                  <c:v>6.5552250723336574</c:v>
                </c:pt>
                <c:pt idx="84">
                  <c:v>6.6220042653336577</c:v>
                </c:pt>
                <c:pt idx="85">
                  <c:v>6.6876657893336571</c:v>
                </c:pt>
                <c:pt idx="86">
                  <c:v>6.7521904453336568</c:v>
                </c:pt>
                <c:pt idx="87">
                  <c:v>6.8155791763336566</c:v>
                </c:pt>
                <c:pt idx="88">
                  <c:v>6.8778352053336569</c:v>
                </c:pt>
                <c:pt idx="89">
                  <c:v>6.9389701223336573</c:v>
                </c:pt>
                <c:pt idx="90">
                  <c:v>6.9989889423336553</c:v>
                </c:pt>
                <c:pt idx="91">
                  <c:v>7.0578870433336558</c:v>
                </c:pt>
                <c:pt idx="92">
                  <c:v>7.1156497133336583</c:v>
                </c:pt>
                <c:pt idx="93">
                  <c:v>7.1722598073336563</c:v>
                </c:pt>
                <c:pt idx="94">
                  <c:v>7.2276969423336563</c:v>
                </c:pt>
                <c:pt idx="95">
                  <c:v>7.2819448323336573</c:v>
                </c:pt>
                <c:pt idx="96">
                  <c:v>7.3349962333336567</c:v>
                </c:pt>
                <c:pt idx="97">
                  <c:v>7.3868493093336571</c:v>
                </c:pt>
                <c:pt idx="98">
                  <c:v>7.4374988803336564</c:v>
                </c:pt>
                <c:pt idx="99">
                  <c:v>7.4869417063336563</c:v>
                </c:pt>
                <c:pt idx="100">
                  <c:v>7.535175460333658</c:v>
                </c:pt>
                <c:pt idx="101">
                  <c:v>7.5822033183336561</c:v>
                </c:pt>
                <c:pt idx="102">
                  <c:v>7.6280270013336562</c:v>
                </c:pt>
                <c:pt idx="103">
                  <c:v>7.6726431223336569</c:v>
                </c:pt>
                <c:pt idx="104">
                  <c:v>7.7160468113336567</c:v>
                </c:pt>
                <c:pt idx="105">
                  <c:v>7.758240306333656</c:v>
                </c:pt>
                <c:pt idx="106">
                  <c:v>7.7992267273336555</c:v>
                </c:pt>
                <c:pt idx="107">
                  <c:v>7.8390228223336571</c:v>
                </c:pt>
                <c:pt idx="108">
                  <c:v>7.8776596403336576</c:v>
                </c:pt>
                <c:pt idx="109">
                  <c:v>7.9151779203336563</c:v>
                </c:pt>
                <c:pt idx="110">
                  <c:v>7.951611243333657</c:v>
                </c:pt>
                <c:pt idx="111">
                  <c:v>7.9869787693336569</c:v>
                </c:pt>
                <c:pt idx="112">
                  <c:v>8.0212906003336553</c:v>
                </c:pt>
                <c:pt idx="113">
                  <c:v>8.0545605643336575</c:v>
                </c:pt>
                <c:pt idx="114">
                  <c:v>8.0867999143336569</c:v>
                </c:pt>
                <c:pt idx="115">
                  <c:v>8.1180208753336558</c:v>
                </c:pt>
                <c:pt idx="116">
                  <c:v>8.1482396393336565</c:v>
                </c:pt>
                <c:pt idx="117">
                  <c:v>8.1774723903336568</c:v>
                </c:pt>
                <c:pt idx="118">
                  <c:v>8.2057320923336565</c:v>
                </c:pt>
                <c:pt idx="119">
                  <c:v>8.2330306963336568</c:v>
                </c:pt>
                <c:pt idx="120">
                  <c:v>8.2593810613336576</c:v>
                </c:pt>
                <c:pt idx="121">
                  <c:v>8.2847964183336558</c:v>
                </c:pt>
                <c:pt idx="122">
                  <c:v>8.3092919623336581</c:v>
                </c:pt>
                <c:pt idx="123">
                  <c:v>8.3328844213336559</c:v>
                </c:pt>
                <c:pt idx="124">
                  <c:v>8.3555915633336575</c:v>
                </c:pt>
                <c:pt idx="125">
                  <c:v>8.3774297553336563</c:v>
                </c:pt>
                <c:pt idx="126">
                  <c:v>8.3984157323336568</c:v>
                </c:pt>
                <c:pt idx="127">
                  <c:v>8.418562469333656</c:v>
                </c:pt>
                <c:pt idx="128">
                  <c:v>8.4378783793336574</c:v>
                </c:pt>
                <c:pt idx="129">
                  <c:v>8.4563697933336552</c:v>
                </c:pt>
                <c:pt idx="130">
                  <c:v>8.4740460143336573</c:v>
                </c:pt>
                <c:pt idx="131">
                  <c:v>8.490914895333658</c:v>
                </c:pt>
                <c:pt idx="132">
                  <c:v>8.5069939863336579</c:v>
                </c:pt>
                <c:pt idx="133">
                  <c:v>8.5223129353336571</c:v>
                </c:pt>
                <c:pt idx="134">
                  <c:v>8.5369070043336563</c:v>
                </c:pt>
                <c:pt idx="135">
                  <c:v>8.5508039133336577</c:v>
                </c:pt>
                <c:pt idx="136">
                  <c:v>8.5640155833336564</c:v>
                </c:pt>
                <c:pt idx="137">
                  <c:v>8.5765435793336557</c:v>
                </c:pt>
                <c:pt idx="138">
                  <c:v>8.5883905083336582</c:v>
                </c:pt>
                <c:pt idx="139">
                  <c:v>8.5995549263336564</c:v>
                </c:pt>
                <c:pt idx="140">
                  <c:v>8.6100338633336566</c:v>
                </c:pt>
                <c:pt idx="141">
                  <c:v>8.6198242033336552</c:v>
                </c:pt>
                <c:pt idx="142">
                  <c:v>8.6289225193336581</c:v>
                </c:pt>
                <c:pt idx="143">
                  <c:v>8.6373236373336564</c:v>
                </c:pt>
                <c:pt idx="144">
                  <c:v>8.6450203583336567</c:v>
                </c:pt>
                <c:pt idx="145">
                  <c:v>8.6520017053336566</c:v>
                </c:pt>
                <c:pt idx="146">
                  <c:v>8.6582531473336566</c:v>
                </c:pt>
                <c:pt idx="147">
                  <c:v>8.6637563363336572</c:v>
                </c:pt>
                <c:pt idx="148">
                  <c:v>8.6684891963336561</c:v>
                </c:pt>
                <c:pt idx="149">
                  <c:v>8.672425694333656</c:v>
                </c:pt>
                <c:pt idx="150">
                  <c:v>8.675535279333656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46-E48A-4AE7-A151-4B6BC0CD8A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14801664"/>
        <c:axId val="97690176"/>
      </c:barChart>
      <c:lineChart>
        <c:grouping val="standard"/>
        <c:varyColors val="0"/>
        <c:ser>
          <c:idx val="1"/>
          <c:order val="1"/>
          <c:spPr>
            <a:ln w="76200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dPt>
            <c:idx val="69"/>
            <c:marker>
              <c:symbol val="circle"/>
              <c:size val="7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47-E48A-4AE7-A151-4B6BC0CD8AD8}"/>
              </c:ext>
            </c:extLst>
          </c:dPt>
          <c:dPt>
            <c:idx val="100"/>
            <c:marker>
              <c:symbol val="circle"/>
              <c:size val="7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48-E48A-4AE7-A151-4B6BC0CD8AD8}"/>
              </c:ext>
            </c:extLst>
          </c:dPt>
          <c:dPt>
            <c:idx val="150"/>
            <c:marker>
              <c:symbol val="circle"/>
              <c:size val="7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49-E48A-4AE7-A151-4B6BC0CD8AD8}"/>
              </c:ext>
            </c:extLst>
          </c:dPt>
          <c:val>
            <c:numRef>
              <c:f>Sheet1!$A$2:$EU$2</c:f>
              <c:numCache>
                <c:formatCode>General</c:formatCode>
                <c:ptCount val="151"/>
                <c:pt idx="0">
                  <c:v>0.33657257833365684</c:v>
                </c:pt>
                <c:pt idx="1">
                  <c:v>0.38417578733365687</c:v>
                </c:pt>
                <c:pt idx="2">
                  <c:v>0.43100325033365694</c:v>
                </c:pt>
                <c:pt idx="3">
                  <c:v>0.47775062133365687</c:v>
                </c:pt>
                <c:pt idx="4">
                  <c:v>0.52498831433365689</c:v>
                </c:pt>
                <c:pt idx="5">
                  <c:v>0.57316147533365669</c:v>
                </c:pt>
                <c:pt idx="6">
                  <c:v>0.6225848143336572</c:v>
                </c:pt>
                <c:pt idx="7">
                  <c:v>0.67344761833365707</c:v>
                </c:pt>
                <c:pt idx="8">
                  <c:v>0.72582824033365689</c:v>
                </c:pt>
                <c:pt idx="9">
                  <c:v>0.77971770733365675</c:v>
                </c:pt>
                <c:pt idx="10">
                  <c:v>0.83509127533365657</c:v>
                </c:pt>
                <c:pt idx="11">
                  <c:v>0.89198507333365651</c:v>
                </c:pt>
                <c:pt idx="12">
                  <c:v>0.9505623213336567</c:v>
                </c:pt>
                <c:pt idx="13">
                  <c:v>1.0111425063336568</c:v>
                </c:pt>
                <c:pt idx="14">
                  <c:v>1.0741198323336567</c:v>
                </c:pt>
                <c:pt idx="15">
                  <c:v>1.1397250703336566</c:v>
                </c:pt>
                <c:pt idx="16">
                  <c:v>1.2080641913336567</c:v>
                </c:pt>
                <c:pt idx="17">
                  <c:v>1.2789116643336564</c:v>
                </c:pt>
                <c:pt idx="18">
                  <c:v>1.3517409963336569</c:v>
                </c:pt>
                <c:pt idx="19">
                  <c:v>1.4258225253336567</c:v>
                </c:pt>
                <c:pt idx="20">
                  <c:v>1.5005786023336567</c:v>
                </c:pt>
                <c:pt idx="21">
                  <c:v>1.5759015903336566</c:v>
                </c:pt>
                <c:pt idx="22">
                  <c:v>1.6517921483336568</c:v>
                </c:pt>
                <c:pt idx="23">
                  <c:v>1.7279220793336565</c:v>
                </c:pt>
                <c:pt idx="24">
                  <c:v>1.8039357383336565</c:v>
                </c:pt>
                <c:pt idx="25">
                  <c:v>1.8796220343336572</c:v>
                </c:pt>
                <c:pt idx="26">
                  <c:v>1.9548083873336566</c:v>
                </c:pt>
                <c:pt idx="27">
                  <c:v>2.029647479333657</c:v>
                </c:pt>
                <c:pt idx="28">
                  <c:v>2.1046751593336568</c:v>
                </c:pt>
                <c:pt idx="29">
                  <c:v>2.1806477453336566</c:v>
                </c:pt>
                <c:pt idx="30">
                  <c:v>2.2581450263336569</c:v>
                </c:pt>
                <c:pt idx="31">
                  <c:v>2.3371381793336568</c:v>
                </c:pt>
                <c:pt idx="32">
                  <c:v>2.4175280863336566</c:v>
                </c:pt>
                <c:pt idx="33">
                  <c:v>2.4997107473336566</c:v>
                </c:pt>
                <c:pt idx="34">
                  <c:v>2.5841530773336565</c:v>
                </c:pt>
                <c:pt idx="35">
                  <c:v>2.6710632263336569</c:v>
                </c:pt>
                <c:pt idx="36">
                  <c:v>2.7607095603336571</c:v>
                </c:pt>
                <c:pt idx="37">
                  <c:v>2.8526635583336564</c:v>
                </c:pt>
                <c:pt idx="38">
                  <c:v>2.9455675543336568</c:v>
                </c:pt>
                <c:pt idx="39">
                  <c:v>3.0375829943336567</c:v>
                </c:pt>
                <c:pt idx="40">
                  <c:v>3.1273726013336569</c:v>
                </c:pt>
                <c:pt idx="41">
                  <c:v>3.2144309433336575</c:v>
                </c:pt>
                <c:pt idx="42">
                  <c:v>3.2990614533336569</c:v>
                </c:pt>
                <c:pt idx="43">
                  <c:v>3.3817391583336569</c:v>
                </c:pt>
                <c:pt idx="44">
                  <c:v>3.4632919883336575</c:v>
                </c:pt>
                <c:pt idx="45">
                  <c:v>3.5443544903336566</c:v>
                </c:pt>
                <c:pt idx="46">
                  <c:v>3.6250334913336566</c:v>
                </c:pt>
                <c:pt idx="47">
                  <c:v>3.7051872073336565</c:v>
                </c:pt>
                <c:pt idx="48">
                  <c:v>3.7849356353336567</c:v>
                </c:pt>
                <c:pt idx="49">
                  <c:v>3.8643805933336566</c:v>
                </c:pt>
                <c:pt idx="50">
                  <c:v>3.9436353663336563</c:v>
                </c:pt>
                <c:pt idx="51">
                  <c:v>4.0227680913336572</c:v>
                </c:pt>
                <c:pt idx="52">
                  <c:v>4.1019147323336567</c:v>
                </c:pt>
                <c:pt idx="53">
                  <c:v>4.1813267013336564</c:v>
                </c:pt>
                <c:pt idx="54">
                  <c:v>4.2613009513336566</c:v>
                </c:pt>
                <c:pt idx="55">
                  <c:v>4.3420485163336568</c:v>
                </c:pt>
                <c:pt idx="56">
                  <c:v>4.4236594773336568</c:v>
                </c:pt>
                <c:pt idx="57">
                  <c:v>4.5060882033336567</c:v>
                </c:pt>
                <c:pt idx="58">
                  <c:v>4.5892302323336569</c:v>
                </c:pt>
                <c:pt idx="59">
                  <c:v>4.6729085483336563</c:v>
                </c:pt>
                <c:pt idx="60">
                  <c:v>4.7569651483336575</c:v>
                </c:pt>
                <c:pt idx="61">
                  <c:v>4.8413357283336564</c:v>
                </c:pt>
                <c:pt idx="62">
                  <c:v>4.9259695173336571</c:v>
                </c:pt>
                <c:pt idx="63">
                  <c:v>5.0107236013336571</c:v>
                </c:pt>
                <c:pt idx="64">
                  <c:v>5.0954323193336561</c:v>
                </c:pt>
                <c:pt idx="65">
                  <c:v>5.1799385273336567</c:v>
                </c:pt>
                <c:pt idx="66">
                  <c:v>5.2641634943336575</c:v>
                </c:pt>
                <c:pt idx="67">
                  <c:v>5.3480004603336573</c:v>
                </c:pt>
                <c:pt idx="68">
                  <c:v>5.4312326733336569</c:v>
                </c:pt>
                <c:pt idx="69">
                  <c:v>5.5136097653336567</c:v>
                </c:pt>
                <c:pt idx="70">
                  <c:v>5.5949402893336568</c:v>
                </c:pt>
                <c:pt idx="71">
                  <c:v>5.6751072923336565</c:v>
                </c:pt>
                <c:pt idx="72">
                  <c:v>5.7540941373336567</c:v>
                </c:pt>
                <c:pt idx="73">
                  <c:v>5.8319418983336568</c:v>
                </c:pt>
                <c:pt idx="74">
                  <c:v>5.9087468153336573</c:v>
                </c:pt>
                <c:pt idx="75">
                  <c:v>5.9845790133336561</c:v>
                </c:pt>
                <c:pt idx="76">
                  <c:v>6.0594182113336572</c:v>
                </c:pt>
                <c:pt idx="77">
                  <c:v>6.1332198783336569</c:v>
                </c:pt>
                <c:pt idx="78">
                  <c:v>6.2060048613336569</c:v>
                </c:pt>
                <c:pt idx="79">
                  <c:v>6.2778022833336564</c:v>
                </c:pt>
                <c:pt idx="80">
                  <c:v>6.348628931333657</c:v>
                </c:pt>
                <c:pt idx="81">
                  <c:v>6.4184910143336573</c:v>
                </c:pt>
                <c:pt idx="82">
                  <c:v>6.4873694333336562</c:v>
                </c:pt>
                <c:pt idx="83">
                  <c:v>6.5552250723336574</c:v>
                </c:pt>
                <c:pt idx="84">
                  <c:v>6.6220042653336577</c:v>
                </c:pt>
                <c:pt idx="85">
                  <c:v>6.6876657893336571</c:v>
                </c:pt>
                <c:pt idx="86">
                  <c:v>6.7521904453336568</c:v>
                </c:pt>
                <c:pt idx="87">
                  <c:v>6.8155791763336566</c:v>
                </c:pt>
                <c:pt idx="88">
                  <c:v>6.8778352053336569</c:v>
                </c:pt>
                <c:pt idx="89">
                  <c:v>6.9389701223336573</c:v>
                </c:pt>
                <c:pt idx="90">
                  <c:v>6.9989889423336553</c:v>
                </c:pt>
                <c:pt idx="91">
                  <c:v>7.0578870433336558</c:v>
                </c:pt>
                <c:pt idx="92">
                  <c:v>7.1156497133336583</c:v>
                </c:pt>
                <c:pt idx="93">
                  <c:v>7.1722598073336563</c:v>
                </c:pt>
                <c:pt idx="94">
                  <c:v>7.2276969423336563</c:v>
                </c:pt>
                <c:pt idx="95">
                  <c:v>7.2819448323336573</c:v>
                </c:pt>
                <c:pt idx="96">
                  <c:v>7.3349962333336567</c:v>
                </c:pt>
                <c:pt idx="97">
                  <c:v>7.3868493093336571</c:v>
                </c:pt>
                <c:pt idx="98">
                  <c:v>7.4374988803336564</c:v>
                </c:pt>
                <c:pt idx="99">
                  <c:v>7.4869417063336563</c:v>
                </c:pt>
                <c:pt idx="100">
                  <c:v>7.535175460333658</c:v>
                </c:pt>
                <c:pt idx="101">
                  <c:v>7.5822033183336561</c:v>
                </c:pt>
                <c:pt idx="102">
                  <c:v>7.6280270013336562</c:v>
                </c:pt>
                <c:pt idx="103">
                  <c:v>7.6726431223336569</c:v>
                </c:pt>
                <c:pt idx="104">
                  <c:v>7.7160468113336567</c:v>
                </c:pt>
                <c:pt idx="105">
                  <c:v>7.758240306333656</c:v>
                </c:pt>
                <c:pt idx="106">
                  <c:v>7.7992267273336555</c:v>
                </c:pt>
                <c:pt idx="107">
                  <c:v>7.8390228223336571</c:v>
                </c:pt>
                <c:pt idx="108">
                  <c:v>7.8776596403336576</c:v>
                </c:pt>
                <c:pt idx="109">
                  <c:v>7.9151779203336563</c:v>
                </c:pt>
                <c:pt idx="110">
                  <c:v>7.951611243333657</c:v>
                </c:pt>
                <c:pt idx="111">
                  <c:v>7.9869787693336569</c:v>
                </c:pt>
                <c:pt idx="112">
                  <c:v>8.0212906003336553</c:v>
                </c:pt>
                <c:pt idx="113">
                  <c:v>8.0545605643336575</c:v>
                </c:pt>
                <c:pt idx="114">
                  <c:v>8.0867999143336569</c:v>
                </c:pt>
                <c:pt idx="115">
                  <c:v>8.1180208753336558</c:v>
                </c:pt>
                <c:pt idx="116">
                  <c:v>8.1482396393336565</c:v>
                </c:pt>
                <c:pt idx="117">
                  <c:v>8.1774723903336568</c:v>
                </c:pt>
                <c:pt idx="118">
                  <c:v>8.2057320923336565</c:v>
                </c:pt>
                <c:pt idx="119">
                  <c:v>8.2330306963336568</c:v>
                </c:pt>
                <c:pt idx="120">
                  <c:v>8.2593810613336576</c:v>
                </c:pt>
                <c:pt idx="121">
                  <c:v>8.2847964183336558</c:v>
                </c:pt>
                <c:pt idx="122">
                  <c:v>8.3092919623336581</c:v>
                </c:pt>
                <c:pt idx="123">
                  <c:v>8.3328844213336559</c:v>
                </c:pt>
                <c:pt idx="124">
                  <c:v>8.3555915633336575</c:v>
                </c:pt>
                <c:pt idx="125">
                  <c:v>8.3774297553336563</c:v>
                </c:pt>
                <c:pt idx="126">
                  <c:v>8.3984157323336568</c:v>
                </c:pt>
                <c:pt idx="127">
                  <c:v>8.418562469333656</c:v>
                </c:pt>
                <c:pt idx="128">
                  <c:v>8.4378783793336574</c:v>
                </c:pt>
                <c:pt idx="129">
                  <c:v>8.4563697933336552</c:v>
                </c:pt>
                <c:pt idx="130">
                  <c:v>8.4740460143336573</c:v>
                </c:pt>
                <c:pt idx="131">
                  <c:v>8.490914895333658</c:v>
                </c:pt>
                <c:pt idx="132">
                  <c:v>8.5069939863336579</c:v>
                </c:pt>
                <c:pt idx="133">
                  <c:v>8.5223129353336571</c:v>
                </c:pt>
                <c:pt idx="134">
                  <c:v>8.5369070043336563</c:v>
                </c:pt>
                <c:pt idx="135">
                  <c:v>8.5508039133336577</c:v>
                </c:pt>
                <c:pt idx="136">
                  <c:v>8.5640155833336564</c:v>
                </c:pt>
                <c:pt idx="137">
                  <c:v>8.5765435793336557</c:v>
                </c:pt>
                <c:pt idx="138">
                  <c:v>8.5883905083336582</c:v>
                </c:pt>
                <c:pt idx="139">
                  <c:v>8.5995549263336564</c:v>
                </c:pt>
                <c:pt idx="140">
                  <c:v>8.6100338633336566</c:v>
                </c:pt>
                <c:pt idx="141">
                  <c:v>8.6198242033336552</c:v>
                </c:pt>
                <c:pt idx="142">
                  <c:v>8.6289225193336581</c:v>
                </c:pt>
                <c:pt idx="143">
                  <c:v>8.6373236373336564</c:v>
                </c:pt>
                <c:pt idx="144">
                  <c:v>8.6450203583336567</c:v>
                </c:pt>
                <c:pt idx="145">
                  <c:v>8.6520017053336566</c:v>
                </c:pt>
                <c:pt idx="146">
                  <c:v>8.6582531473336566</c:v>
                </c:pt>
                <c:pt idx="147">
                  <c:v>8.6637563363336572</c:v>
                </c:pt>
                <c:pt idx="148">
                  <c:v>8.6684891963336561</c:v>
                </c:pt>
                <c:pt idx="149">
                  <c:v>8.672425694333656</c:v>
                </c:pt>
                <c:pt idx="150">
                  <c:v>8.675535279333656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4A-E48A-4AE7-A151-4B6BC0CD8A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4801664"/>
        <c:axId val="97690176"/>
      </c:lineChart>
      <c:catAx>
        <c:axId val="1148016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latin typeface="+mn-lt"/>
                <a:ea typeface="+mn-ea"/>
                <a:cs typeface="+mn-cs"/>
                <a:sym typeface="+mn-lt"/>
              </a:defRPr>
            </a:pPr>
            <a:endParaRPr lang="es-CL"/>
          </a:p>
        </c:txPr>
        <c:crossAx val="97690176"/>
        <c:crosses val="min"/>
        <c:auto val="0"/>
        <c:lblAlgn val="ctr"/>
        <c:lblOffset val="100"/>
        <c:noMultiLvlLbl val="0"/>
      </c:catAx>
      <c:valAx>
        <c:axId val="97690176"/>
        <c:scaling>
          <c:orientation val="minMax"/>
          <c:max val="8.8001415603336568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14801664"/>
        <c:crosses val="min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3D5444-F62C-42C3-A75A-D9DBA807730F}" type="datetimeFigureOut">
              <a:rPr lang="en-US" smtClean="0"/>
              <a:t>12/4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A4F617-7A30-41D4-AB86-5D833C98E18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46248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CAA1FA-7B6A-47D2-8D61-F225D71B51FF}" type="datetimeFigureOut">
              <a:rPr lang="en-US" smtClean="0"/>
              <a:t>12/4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9A179D-2D27-49E2-B022-8EDDA2EFE68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6034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>
            <a:spLocks noChangeArrowheads="1"/>
          </p:cNvSpPr>
          <p:nvPr/>
        </p:nvSpPr>
        <p:spPr bwMode="white">
          <a:xfrm>
            <a:off x="8429022" y="0"/>
            <a:ext cx="3762978" cy="6858000"/>
          </a:xfrm>
          <a:custGeom>
            <a:avLst/>
            <a:gdLst>
              <a:gd name="connsiteX0" fmla="*/ 0 w 3762978"/>
              <a:gd name="connsiteY0" fmla="*/ 0 h 6858000"/>
              <a:gd name="connsiteX1" fmla="*/ 3762978 w 3762978"/>
              <a:gd name="connsiteY1" fmla="*/ 0 h 6858000"/>
              <a:gd name="connsiteX2" fmla="*/ 3762978 w 3762978"/>
              <a:gd name="connsiteY2" fmla="*/ 6858000 h 6858000"/>
              <a:gd name="connsiteX3" fmla="*/ 338667 w 3762978"/>
              <a:gd name="connsiteY3" fmla="*/ 6858000 h 6858000"/>
              <a:gd name="connsiteX4" fmla="*/ 1189567 w 3762978"/>
              <a:gd name="connsiteY4" fmla="*/ 43370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62978" h="6858000">
                <a:moveTo>
                  <a:pt x="0" y="0"/>
                </a:moveTo>
                <a:lnTo>
                  <a:pt x="3762978" y="0"/>
                </a:lnTo>
                <a:lnTo>
                  <a:pt x="3762978" y="6858000"/>
                </a:lnTo>
                <a:lnTo>
                  <a:pt x="338667" y="6858000"/>
                </a:lnTo>
                <a:lnTo>
                  <a:pt x="1189567" y="433705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800"/>
          </a:p>
        </p:txBody>
      </p:sp>
      <p:sp>
        <p:nvSpPr>
          <p:cNvPr id="7" name="Freeform 6"/>
          <p:cNvSpPr>
            <a:spLocks/>
          </p:cNvSpPr>
          <p:nvPr/>
        </p:nvSpPr>
        <p:spPr bwMode="auto">
          <a:xfrm>
            <a:off x="8145385" y="0"/>
            <a:ext cx="1672169" cy="6858000"/>
          </a:xfrm>
          <a:custGeom>
            <a:avLst/>
            <a:gdLst/>
            <a:ahLst/>
            <a:cxnLst/>
            <a:rect l="l" t="t" r="r" b="b"/>
            <a:pathLst>
              <a:path w="1254127" h="6858000">
                <a:moveTo>
                  <a:pt x="0" y="0"/>
                </a:moveTo>
                <a:lnTo>
                  <a:pt x="365127" y="0"/>
                </a:lnTo>
                <a:lnTo>
                  <a:pt x="1254127" y="4337050"/>
                </a:lnTo>
                <a:lnTo>
                  <a:pt x="619127" y="6858000"/>
                </a:lnTo>
                <a:lnTo>
                  <a:pt x="257175" y="6858000"/>
                </a:lnTo>
                <a:lnTo>
                  <a:pt x="892175" y="433705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800"/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>
            <a:off x="7950653" y="0"/>
            <a:ext cx="1528232" cy="6858000"/>
          </a:xfrm>
          <a:custGeom>
            <a:avLst/>
            <a:gdLst/>
            <a:ahLst/>
            <a:cxnLst/>
            <a:rect l="l" t="t" r="r" b="b"/>
            <a:pathLst>
              <a:path w="1146174" h="6858000">
                <a:moveTo>
                  <a:pt x="0" y="0"/>
                </a:moveTo>
                <a:lnTo>
                  <a:pt x="253999" y="0"/>
                </a:lnTo>
                <a:lnTo>
                  <a:pt x="1146174" y="4337050"/>
                </a:lnTo>
                <a:lnTo>
                  <a:pt x="511174" y="6858000"/>
                </a:lnTo>
                <a:lnTo>
                  <a:pt x="254000" y="6858000"/>
                </a:lnTo>
                <a:lnTo>
                  <a:pt x="892175" y="433705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177800" dist="50800" dir="108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95400" y="1873584"/>
            <a:ext cx="6400800" cy="2560320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95400" y="4572000"/>
            <a:ext cx="6400800" cy="1600200"/>
          </a:xfrm>
        </p:spPr>
        <p:txBody>
          <a:bodyPr/>
          <a:lstStyle>
            <a:lvl1pPr marL="0" indent="0" algn="l">
              <a:spcBef>
                <a:spcPts val="1200"/>
              </a:spcBef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2585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0" y="255134"/>
            <a:ext cx="9601200" cy="10368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724400" y="1828801"/>
            <a:ext cx="6172200" cy="4343400"/>
          </a:xfrm>
        </p:spPr>
        <p:txBody>
          <a:bodyPr tIns="274320">
            <a:normAutofit/>
          </a:bodyPr>
          <a:lstStyle>
            <a:lvl1pPr marL="0" indent="0" algn="ctr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s-ES"/>
              <a:t>Haga clic en el icono para agregar una ima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95400" y="1828800"/>
            <a:ext cx="3017520" cy="4343400"/>
          </a:xfrm>
        </p:spPr>
        <p:txBody>
          <a:bodyPr anchor="ctr">
            <a:normAutofit/>
          </a:bodyPr>
          <a:lstStyle>
            <a:lvl1pPr marL="0" indent="0">
              <a:spcBef>
                <a:spcPts val="1200"/>
              </a:spcBef>
              <a:buNone/>
              <a:defRPr sz="2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9A3335-6331-4872-A8B7-ECD55539F4D0}" type="datetimeFigureOut">
              <a:rPr lang="en-US" smtClean="0"/>
              <a:t>12/4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8E3F6-DE14-48B2-B2BC-6FABA9630FB8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759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Dos imágenes con títul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1295400" y="5257800"/>
            <a:ext cx="4572000" cy="9144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0" y="255134"/>
            <a:ext cx="9601200" cy="10368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71273" y="5333098"/>
            <a:ext cx="4420252" cy="839102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9A3335-6331-4872-A8B7-ECD55539F4D0}" type="datetimeFigureOut">
              <a:rPr lang="en-US" smtClean="0"/>
              <a:t>12/4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8E3F6-DE14-48B2-B2BC-6FABA9630FB8}" type="slidenum">
              <a:rPr lang="en-US" smtClean="0"/>
              <a:t>‹Nº›</a:t>
            </a:fld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6324599" y="5257800"/>
            <a:ext cx="4572000" cy="9144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1295400" y="5257800"/>
            <a:ext cx="4572000" cy="5486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2" name="Rectangle 11"/>
          <p:cNvSpPr/>
          <p:nvPr/>
        </p:nvSpPr>
        <p:spPr>
          <a:xfrm>
            <a:off x="6324599" y="5257800"/>
            <a:ext cx="4572000" cy="5486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14"/>
          </p:nvPr>
        </p:nvSpPr>
        <p:spPr>
          <a:xfrm>
            <a:off x="6412954" y="5333098"/>
            <a:ext cx="4420252" cy="839102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295400" y="1828801"/>
            <a:ext cx="4572000" cy="3428999"/>
          </a:xfrm>
        </p:spPr>
        <p:txBody>
          <a:bodyPr tIns="274320">
            <a:normAutofit/>
          </a:bodyPr>
          <a:lstStyle>
            <a:lvl1pPr marL="0" indent="0" algn="ctr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s-ES"/>
              <a:t>Haga clic en el icono para agregar una imagen</a:t>
            </a:r>
            <a:endParaRPr lang="en-US" dirty="0"/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>
          <a:xfrm>
            <a:off x="6324600" y="1828801"/>
            <a:ext cx="4572000" cy="3428999"/>
          </a:xfrm>
        </p:spPr>
        <p:txBody>
          <a:bodyPr tIns="274320">
            <a:normAutofit/>
          </a:bodyPr>
          <a:lstStyle>
            <a:lvl1pPr marL="0" indent="0" algn="ctr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s-ES"/>
              <a:t>Haga clic en el icono para agregar una imag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4010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9A3335-6331-4872-A8B7-ECD55539F4D0}" type="datetimeFigureOut">
              <a:rPr lang="en-US" smtClean="0"/>
              <a:t>12/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8E3F6-DE14-48B2-B2BC-6FABA9630FB8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2945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white">
          <a:xfrm rot="5400000">
            <a:off x="7562850" y="2228850"/>
            <a:ext cx="6858000" cy="24003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 rot="5400000">
            <a:off x="6331230" y="3387909"/>
            <a:ext cx="6858000" cy="8218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 rot="5400000">
            <a:off x="6251613" y="3387909"/>
            <a:ext cx="6858000" cy="8218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871318" y="685800"/>
            <a:ext cx="1033272" cy="5486400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95400" y="685800"/>
            <a:ext cx="7976754" cy="5486400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9A3335-6331-4872-A8B7-ECD55539F4D0}" type="datetimeFigureOut">
              <a:rPr lang="en-US" smtClean="0"/>
              <a:t>12/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8E3F6-DE14-48B2-B2BC-6FABA9630FB8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4110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9A3335-6331-4872-A8B7-ECD55539F4D0}" type="datetimeFigureOut">
              <a:rPr lang="en-US" smtClean="0"/>
              <a:t>12/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8E3F6-DE14-48B2-B2BC-6FABA9630FB8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6182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a de título con ima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5"/>
          <p:cNvSpPr>
            <a:spLocks noChangeArrowheads="1"/>
          </p:cNvSpPr>
          <p:nvPr/>
        </p:nvSpPr>
        <p:spPr bwMode="white">
          <a:xfrm>
            <a:off x="6540503" y="0"/>
            <a:ext cx="5651496" cy="6858000"/>
          </a:xfrm>
          <a:custGeom>
            <a:avLst/>
            <a:gdLst/>
            <a:ahLst/>
            <a:cxnLst/>
            <a:rect l="l" t="t" r="r" b="b"/>
            <a:pathLst>
              <a:path w="4238622" h="6858000">
                <a:moveTo>
                  <a:pt x="0" y="0"/>
                </a:moveTo>
                <a:lnTo>
                  <a:pt x="4086222" y="0"/>
                </a:lnTo>
                <a:lnTo>
                  <a:pt x="4237035" y="0"/>
                </a:lnTo>
                <a:lnTo>
                  <a:pt x="4238622" y="0"/>
                </a:lnTo>
                <a:lnTo>
                  <a:pt x="4238622" y="6858000"/>
                </a:lnTo>
                <a:lnTo>
                  <a:pt x="4237035" y="6858000"/>
                </a:lnTo>
                <a:lnTo>
                  <a:pt x="4086222" y="6858000"/>
                </a:lnTo>
                <a:lnTo>
                  <a:pt x="254000" y="6858000"/>
                </a:lnTo>
                <a:lnTo>
                  <a:pt x="892175" y="433705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6256868" y="0"/>
            <a:ext cx="1672169" cy="6858000"/>
          </a:xfrm>
          <a:custGeom>
            <a:avLst/>
            <a:gdLst/>
            <a:ahLst/>
            <a:cxnLst/>
            <a:rect l="l" t="t" r="r" b="b"/>
            <a:pathLst>
              <a:path w="1254127" h="6858000">
                <a:moveTo>
                  <a:pt x="0" y="0"/>
                </a:moveTo>
                <a:lnTo>
                  <a:pt x="365127" y="0"/>
                </a:lnTo>
                <a:lnTo>
                  <a:pt x="1254127" y="4337050"/>
                </a:lnTo>
                <a:lnTo>
                  <a:pt x="619127" y="6858000"/>
                </a:lnTo>
                <a:lnTo>
                  <a:pt x="257175" y="6858000"/>
                </a:lnTo>
                <a:lnTo>
                  <a:pt x="892175" y="433705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innerShdw blurRad="63500" dist="50800" dir="108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800"/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6062136" y="0"/>
            <a:ext cx="1528232" cy="6858000"/>
          </a:xfrm>
          <a:custGeom>
            <a:avLst/>
            <a:gdLst/>
            <a:ahLst/>
            <a:cxnLst/>
            <a:rect l="l" t="t" r="r" b="b"/>
            <a:pathLst>
              <a:path w="1146174" h="6858000">
                <a:moveTo>
                  <a:pt x="0" y="0"/>
                </a:moveTo>
                <a:lnTo>
                  <a:pt x="253999" y="0"/>
                </a:lnTo>
                <a:lnTo>
                  <a:pt x="1146174" y="4337050"/>
                </a:lnTo>
                <a:lnTo>
                  <a:pt x="511174" y="6858000"/>
                </a:lnTo>
                <a:lnTo>
                  <a:pt x="254000" y="6858000"/>
                </a:lnTo>
                <a:lnTo>
                  <a:pt x="892175" y="433705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177800" dist="50800" dir="108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95401" y="1873584"/>
            <a:ext cx="5120640" cy="2560320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95401" y="4572000"/>
            <a:ext cx="5120640" cy="1600200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n-US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0"/>
          </p:nvPr>
        </p:nvSpPr>
        <p:spPr>
          <a:xfrm>
            <a:off x="6743703" y="0"/>
            <a:ext cx="5448297" cy="6858000"/>
          </a:xfrm>
          <a:custGeom>
            <a:avLst/>
            <a:gdLst>
              <a:gd name="connsiteX0" fmla="*/ 0 w 5448297"/>
              <a:gd name="connsiteY0" fmla="*/ 0 h 6858000"/>
              <a:gd name="connsiteX1" fmla="*/ 5448297 w 5448297"/>
              <a:gd name="connsiteY1" fmla="*/ 0 h 6858000"/>
              <a:gd name="connsiteX2" fmla="*/ 5448297 w 5448297"/>
              <a:gd name="connsiteY2" fmla="*/ 6858000 h 6858000"/>
              <a:gd name="connsiteX3" fmla="*/ 338667 w 5448297"/>
              <a:gd name="connsiteY3" fmla="*/ 6858000 h 6858000"/>
              <a:gd name="connsiteX4" fmla="*/ 1185333 w 5448297"/>
              <a:gd name="connsiteY4" fmla="*/ 43370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48297" h="6858000">
                <a:moveTo>
                  <a:pt x="0" y="0"/>
                </a:moveTo>
                <a:lnTo>
                  <a:pt x="5448297" y="0"/>
                </a:lnTo>
                <a:lnTo>
                  <a:pt x="5448297" y="6858000"/>
                </a:lnTo>
                <a:lnTo>
                  <a:pt x="338667" y="6858000"/>
                </a:lnTo>
                <a:lnTo>
                  <a:pt x="1185333" y="433705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tIns="365760">
            <a:no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6" name="Instructional Text"/>
          <p:cNvSpPr/>
          <p:nvPr/>
        </p:nvSpPr>
        <p:spPr>
          <a:xfrm>
            <a:off x="12344400" y="0"/>
            <a:ext cx="1295400" cy="6858000"/>
          </a:xfrm>
          <a:prstGeom prst="roundRect">
            <a:avLst>
              <a:gd name="adj" fmla="val 9717"/>
            </a:avLst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>
              <a:buNone/>
            </a:pPr>
            <a:r>
              <a:rPr sz="1200" b="1" i="1">
                <a:latin typeface="Arial"/>
                <a:ea typeface="+mn-ea"/>
                <a:cs typeface="Arial"/>
              </a:rPr>
              <a:t>NOTA:</a:t>
            </a:r>
          </a:p>
          <a:p>
            <a:pPr algn="l" defTabSz="914400">
              <a:buNone/>
            </a:pPr>
            <a:r>
              <a:rPr sz="1200" b="0" i="1">
                <a:latin typeface="Arial"/>
                <a:ea typeface="+mn-ea"/>
                <a:cs typeface="Arial"/>
              </a:rPr>
              <a:t>Para cambiar la imagen de esta dispositiva, seleccione la imagen y elimínela. A continuación haga clic en el icono Imágenes  en el marcador de posición e inserte su imagen.</a:t>
            </a:r>
          </a:p>
        </p:txBody>
      </p:sp>
    </p:spTree>
    <p:extLst>
      <p:ext uri="{BB962C8B-B14F-4D97-AF65-F5344CB8AC3E}">
        <p14:creationId xmlns:p14="http://schemas.microsoft.com/office/powerpoint/2010/main" val="2402813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ChangeArrowheads="1"/>
          </p:cNvSpPr>
          <p:nvPr/>
        </p:nvSpPr>
        <p:spPr bwMode="white">
          <a:xfrm>
            <a:off x="9622368" y="0"/>
            <a:ext cx="2569632" cy="6858000"/>
          </a:xfrm>
          <a:custGeom>
            <a:avLst/>
            <a:gdLst/>
            <a:ahLst/>
            <a:cxnLst/>
            <a:rect l="l" t="t" r="r" b="b"/>
            <a:pathLst>
              <a:path w="1927224" h="6858000">
                <a:moveTo>
                  <a:pt x="0" y="0"/>
                </a:moveTo>
                <a:lnTo>
                  <a:pt x="1927224" y="0"/>
                </a:lnTo>
                <a:lnTo>
                  <a:pt x="1927224" y="6858000"/>
                </a:lnTo>
                <a:lnTo>
                  <a:pt x="254000" y="6858000"/>
                </a:lnTo>
                <a:lnTo>
                  <a:pt x="892175" y="433705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8" name="Freeform 6"/>
          <p:cNvSpPr>
            <a:spLocks/>
          </p:cNvSpPr>
          <p:nvPr/>
        </p:nvSpPr>
        <p:spPr bwMode="auto">
          <a:xfrm>
            <a:off x="9237132" y="0"/>
            <a:ext cx="1672169" cy="6858000"/>
          </a:xfrm>
          <a:custGeom>
            <a:avLst/>
            <a:gdLst/>
            <a:ahLst/>
            <a:cxnLst/>
            <a:rect l="l" t="t" r="r" b="b"/>
            <a:pathLst>
              <a:path w="1254127" h="6858000">
                <a:moveTo>
                  <a:pt x="0" y="0"/>
                </a:moveTo>
                <a:lnTo>
                  <a:pt x="365127" y="0"/>
                </a:lnTo>
                <a:lnTo>
                  <a:pt x="1254127" y="4337050"/>
                </a:lnTo>
                <a:lnTo>
                  <a:pt x="619127" y="6858000"/>
                </a:lnTo>
                <a:lnTo>
                  <a:pt x="257175" y="6858000"/>
                </a:lnTo>
                <a:lnTo>
                  <a:pt x="892175" y="433705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101600" dist="50800" algn="l" rotWithShape="0">
              <a:prstClr val="black">
                <a:alpha val="25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800"/>
          </a:p>
        </p:txBody>
      </p:sp>
      <p:sp>
        <p:nvSpPr>
          <p:cNvPr id="9" name="Freeform 7"/>
          <p:cNvSpPr>
            <a:spLocks/>
          </p:cNvSpPr>
          <p:nvPr/>
        </p:nvSpPr>
        <p:spPr bwMode="auto">
          <a:xfrm>
            <a:off x="9173633" y="0"/>
            <a:ext cx="1460499" cy="6858000"/>
          </a:xfrm>
          <a:custGeom>
            <a:avLst/>
            <a:gdLst/>
            <a:ahLst/>
            <a:cxnLst/>
            <a:rect l="l" t="t" r="r" b="b"/>
            <a:pathLst>
              <a:path w="1095374" h="6858000">
                <a:moveTo>
                  <a:pt x="0" y="0"/>
                </a:moveTo>
                <a:lnTo>
                  <a:pt x="203199" y="0"/>
                </a:lnTo>
                <a:lnTo>
                  <a:pt x="1095374" y="4337050"/>
                </a:lnTo>
                <a:lnTo>
                  <a:pt x="460374" y="6858000"/>
                </a:lnTo>
                <a:lnTo>
                  <a:pt x="257175" y="6858000"/>
                </a:lnTo>
                <a:lnTo>
                  <a:pt x="892175" y="433705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101600" dist="50800" algn="l" rotWithShape="0">
              <a:prstClr val="black">
                <a:alpha val="25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800"/>
          </a:p>
        </p:txBody>
      </p:sp>
      <p:sp>
        <p:nvSpPr>
          <p:cNvPr id="10" name="Freeform 7"/>
          <p:cNvSpPr>
            <a:spLocks/>
          </p:cNvSpPr>
          <p:nvPr/>
        </p:nvSpPr>
        <p:spPr bwMode="auto">
          <a:xfrm>
            <a:off x="9173633" y="0"/>
            <a:ext cx="1460499" cy="6858000"/>
          </a:xfrm>
          <a:custGeom>
            <a:avLst/>
            <a:gdLst/>
            <a:ahLst/>
            <a:cxnLst/>
            <a:rect l="l" t="t" r="r" b="b"/>
            <a:pathLst>
              <a:path w="1095374" h="6858000">
                <a:moveTo>
                  <a:pt x="0" y="0"/>
                </a:moveTo>
                <a:lnTo>
                  <a:pt x="203199" y="0"/>
                </a:lnTo>
                <a:lnTo>
                  <a:pt x="1095374" y="4337050"/>
                </a:lnTo>
                <a:lnTo>
                  <a:pt x="460374" y="6858000"/>
                </a:lnTo>
                <a:lnTo>
                  <a:pt x="257175" y="6858000"/>
                </a:lnTo>
                <a:lnTo>
                  <a:pt x="892175" y="433705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63500" dist="50800" dir="108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398" y="2914650"/>
            <a:ext cx="8046720" cy="1557338"/>
          </a:xfrm>
        </p:spPr>
        <p:txBody>
          <a:bodyPr anchor="b">
            <a:norm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95398" y="4589463"/>
            <a:ext cx="8046718" cy="1011237"/>
          </a:xfrm>
        </p:spPr>
        <p:txBody>
          <a:bodyPr/>
          <a:lstStyle>
            <a:lvl1pPr marL="0" indent="0">
              <a:spcBef>
                <a:spcPts val="120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519642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4600" y="1828799"/>
            <a:ext cx="4572000" cy="4343401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9A3335-6331-4872-A8B7-ECD55539F4D0}" type="datetimeFigureOut">
              <a:rPr lang="en-US" smtClean="0"/>
              <a:t>12/4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8E3F6-DE14-48B2-B2BC-6FABA9630FB8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8206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0" y="255134"/>
            <a:ext cx="9601200" cy="1036850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 anchor="ctr">
            <a:normAutofit/>
          </a:bodyPr>
          <a:lstStyle>
            <a:lvl1pPr marL="0" indent="0">
              <a:buNone/>
              <a:defRPr sz="26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95400" y="2705100"/>
            <a:ext cx="4572000" cy="3467100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24600" y="1828800"/>
            <a:ext cx="4572000" cy="847725"/>
          </a:xfrm>
        </p:spPr>
        <p:txBody>
          <a:bodyPr anchor="ctr">
            <a:normAutofit/>
          </a:bodyPr>
          <a:lstStyle>
            <a:lvl1pPr marL="0" indent="0">
              <a:buNone/>
              <a:defRPr sz="26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24600" y="2705100"/>
            <a:ext cx="4572000" cy="3467100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9A3335-6331-4872-A8B7-ECD55539F4D0}" type="datetimeFigureOut">
              <a:rPr lang="en-US" smtClean="0"/>
              <a:t>12/4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8E3F6-DE14-48B2-B2BC-6FABA9630FB8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2360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9A3335-6331-4872-A8B7-ECD55539F4D0}" type="datetimeFigureOut">
              <a:rPr lang="en-US" smtClean="0"/>
              <a:t>12/4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8E3F6-DE14-48B2-B2BC-6FABA9630FB8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7337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9A3335-6331-4872-A8B7-ECD55539F4D0}" type="datetimeFigureOut">
              <a:rPr lang="en-US" smtClean="0"/>
              <a:t>12/4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8E3F6-DE14-48B2-B2BC-6FABA9630FB8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3636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28209" y="1828800"/>
            <a:ext cx="6126480" cy="434340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95400" y="1828800"/>
            <a:ext cx="3017520" cy="4343400"/>
          </a:xfrm>
        </p:spPr>
        <p:txBody>
          <a:bodyPr anchor="ctr">
            <a:normAutofit/>
          </a:bodyPr>
          <a:lstStyle>
            <a:lvl1pPr marL="0" indent="0">
              <a:spcBef>
                <a:spcPts val="1200"/>
              </a:spcBef>
              <a:buNone/>
              <a:defRPr sz="2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9A3335-6331-4872-A8B7-ECD55539F4D0}" type="datetimeFigureOut">
              <a:rPr lang="en-US" smtClean="0"/>
              <a:t>12/4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8E3F6-DE14-48B2-B2BC-6FABA9630FB8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763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37EADA56-CB79-4A87-B1BF-71578E2386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0662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name="think-cell Slide" r:id="rId18" imgW="347" imgH="348" progId="TCLayout.ActiveDocument.1">
                  <p:embed/>
                </p:oleObj>
              </mc:Choice>
              <mc:Fallback>
                <p:oleObj name="think-cell Slide" r:id="rId18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41DCA9E1-3D65-4CDD-A94C-C8FA7BCAEE25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3200" b="0" i="0" baseline="0" dirty="0">
              <a:latin typeface="Book Antiqua" panose="02040602050305030304" pitchFamily="18" charset="0"/>
              <a:ea typeface="+mj-ea"/>
              <a:cs typeface="+mj-cs"/>
              <a:sym typeface="Book Antiqua" panose="02040602050305030304" pitchFamily="18" charset="0"/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0" y="0"/>
            <a:ext cx="12192000" cy="13716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0" y="1371600"/>
            <a:ext cx="12192000" cy="8218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0" y="1443006"/>
            <a:ext cx="12192000" cy="8218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95400" y="255134"/>
            <a:ext cx="9601200" cy="103685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95400" y="1828800"/>
            <a:ext cx="9601200" cy="4343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791449" y="6374999"/>
            <a:ext cx="1480705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A79A3335-6331-4872-A8B7-ECD55539F4D0}" type="datetimeFigureOut">
              <a:rPr lang="en-US" smtClean="0"/>
              <a:pPr/>
              <a:t>12/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95399" y="6374999"/>
            <a:ext cx="6243203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25000" y="6374999"/>
            <a:ext cx="1371600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A7F8E3F6-DE14-48B2-B2BC-6FABA9630FB8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4737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61" r:id="rId11"/>
    <p:sldLayoutId id="2147483658" r:id="rId12"/>
    <p:sldLayoutId id="2147483659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74320" indent="-274320" algn="l" defTabSz="914400" rtl="0" eaLnBrk="1" latinLnBrk="0" hangingPunct="1">
        <a:lnSpc>
          <a:spcPct val="90000"/>
        </a:lnSpc>
        <a:spcBef>
          <a:spcPts val="18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22960" indent="-22860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22860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325880" indent="-22860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554480" indent="-22860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783080" indent="-22860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11680" indent="-22860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240280" indent="-22860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160" userDrawn="1">
          <p15:clr>
            <a:srgbClr val="F26B43"/>
          </p15:clr>
        </p15:guide>
        <p15:guide id="7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17" Type="http://schemas.openxmlformats.org/officeDocument/2006/relationships/tags" Target="../tags/tag121.xml"/><Relationship Id="rId21" Type="http://schemas.openxmlformats.org/officeDocument/2006/relationships/tags" Target="../tags/tag25.xml"/><Relationship Id="rId63" Type="http://schemas.openxmlformats.org/officeDocument/2006/relationships/tags" Target="../tags/tag67.xml"/><Relationship Id="rId159" Type="http://schemas.openxmlformats.org/officeDocument/2006/relationships/tags" Target="../tags/tag163.xml"/><Relationship Id="rId170" Type="http://schemas.openxmlformats.org/officeDocument/2006/relationships/tags" Target="../tags/tag174.xml"/><Relationship Id="rId226" Type="http://schemas.openxmlformats.org/officeDocument/2006/relationships/tags" Target="../tags/tag230.xml"/><Relationship Id="rId268" Type="http://schemas.openxmlformats.org/officeDocument/2006/relationships/tags" Target="../tags/tag272.xml"/><Relationship Id="rId32" Type="http://schemas.openxmlformats.org/officeDocument/2006/relationships/tags" Target="../tags/tag36.xml"/><Relationship Id="rId74" Type="http://schemas.openxmlformats.org/officeDocument/2006/relationships/tags" Target="../tags/tag78.xml"/><Relationship Id="rId128" Type="http://schemas.openxmlformats.org/officeDocument/2006/relationships/tags" Target="../tags/tag132.xml"/><Relationship Id="rId5" Type="http://schemas.openxmlformats.org/officeDocument/2006/relationships/tags" Target="../tags/tag9.xml"/><Relationship Id="rId181" Type="http://schemas.openxmlformats.org/officeDocument/2006/relationships/tags" Target="../tags/tag185.xml"/><Relationship Id="rId237" Type="http://schemas.openxmlformats.org/officeDocument/2006/relationships/tags" Target="../tags/tag241.xml"/><Relationship Id="rId279" Type="http://schemas.openxmlformats.org/officeDocument/2006/relationships/tags" Target="../tags/tag283.xml"/><Relationship Id="rId43" Type="http://schemas.openxmlformats.org/officeDocument/2006/relationships/tags" Target="../tags/tag47.xml"/><Relationship Id="rId139" Type="http://schemas.openxmlformats.org/officeDocument/2006/relationships/tags" Target="../tags/tag143.xml"/><Relationship Id="rId85" Type="http://schemas.openxmlformats.org/officeDocument/2006/relationships/tags" Target="../tags/tag89.xml"/><Relationship Id="rId150" Type="http://schemas.openxmlformats.org/officeDocument/2006/relationships/tags" Target="../tags/tag154.xml"/><Relationship Id="rId171" Type="http://schemas.openxmlformats.org/officeDocument/2006/relationships/tags" Target="../tags/tag175.xml"/><Relationship Id="rId192" Type="http://schemas.openxmlformats.org/officeDocument/2006/relationships/tags" Target="../tags/tag196.xml"/><Relationship Id="rId206" Type="http://schemas.openxmlformats.org/officeDocument/2006/relationships/tags" Target="../tags/tag210.xml"/><Relationship Id="rId227" Type="http://schemas.openxmlformats.org/officeDocument/2006/relationships/tags" Target="../tags/tag231.xml"/><Relationship Id="rId248" Type="http://schemas.openxmlformats.org/officeDocument/2006/relationships/tags" Target="../tags/tag252.xml"/><Relationship Id="rId269" Type="http://schemas.openxmlformats.org/officeDocument/2006/relationships/tags" Target="../tags/tag273.xml"/><Relationship Id="rId12" Type="http://schemas.openxmlformats.org/officeDocument/2006/relationships/tags" Target="../tags/tag16.xml"/><Relationship Id="rId33" Type="http://schemas.openxmlformats.org/officeDocument/2006/relationships/tags" Target="../tags/tag37.xml"/><Relationship Id="rId108" Type="http://schemas.openxmlformats.org/officeDocument/2006/relationships/tags" Target="../tags/tag112.xml"/><Relationship Id="rId129" Type="http://schemas.openxmlformats.org/officeDocument/2006/relationships/tags" Target="../tags/tag133.xml"/><Relationship Id="rId280" Type="http://schemas.openxmlformats.org/officeDocument/2006/relationships/tags" Target="../tags/tag284.xml"/><Relationship Id="rId54" Type="http://schemas.openxmlformats.org/officeDocument/2006/relationships/tags" Target="../tags/tag58.xml"/><Relationship Id="rId75" Type="http://schemas.openxmlformats.org/officeDocument/2006/relationships/tags" Target="../tags/tag79.xml"/><Relationship Id="rId96" Type="http://schemas.openxmlformats.org/officeDocument/2006/relationships/tags" Target="../tags/tag100.xml"/><Relationship Id="rId140" Type="http://schemas.openxmlformats.org/officeDocument/2006/relationships/tags" Target="../tags/tag144.xml"/><Relationship Id="rId161" Type="http://schemas.openxmlformats.org/officeDocument/2006/relationships/tags" Target="../tags/tag165.xml"/><Relationship Id="rId182" Type="http://schemas.openxmlformats.org/officeDocument/2006/relationships/tags" Target="../tags/tag186.xml"/><Relationship Id="rId217" Type="http://schemas.openxmlformats.org/officeDocument/2006/relationships/tags" Target="../tags/tag221.xml"/><Relationship Id="rId6" Type="http://schemas.openxmlformats.org/officeDocument/2006/relationships/tags" Target="../tags/tag10.xml"/><Relationship Id="rId238" Type="http://schemas.openxmlformats.org/officeDocument/2006/relationships/tags" Target="../tags/tag242.xml"/><Relationship Id="rId259" Type="http://schemas.openxmlformats.org/officeDocument/2006/relationships/tags" Target="../tags/tag263.xml"/><Relationship Id="rId23" Type="http://schemas.openxmlformats.org/officeDocument/2006/relationships/tags" Target="../tags/tag27.xml"/><Relationship Id="rId119" Type="http://schemas.openxmlformats.org/officeDocument/2006/relationships/tags" Target="../tags/tag123.xml"/><Relationship Id="rId270" Type="http://schemas.openxmlformats.org/officeDocument/2006/relationships/tags" Target="../tags/tag274.xml"/><Relationship Id="rId44" Type="http://schemas.openxmlformats.org/officeDocument/2006/relationships/tags" Target="../tags/tag48.xml"/><Relationship Id="rId65" Type="http://schemas.openxmlformats.org/officeDocument/2006/relationships/tags" Target="../tags/tag69.xml"/><Relationship Id="rId86" Type="http://schemas.openxmlformats.org/officeDocument/2006/relationships/tags" Target="../tags/tag90.xml"/><Relationship Id="rId130" Type="http://schemas.openxmlformats.org/officeDocument/2006/relationships/tags" Target="../tags/tag134.xml"/><Relationship Id="rId151" Type="http://schemas.openxmlformats.org/officeDocument/2006/relationships/tags" Target="../tags/tag155.xml"/><Relationship Id="rId172" Type="http://schemas.openxmlformats.org/officeDocument/2006/relationships/tags" Target="../tags/tag176.xml"/><Relationship Id="rId193" Type="http://schemas.openxmlformats.org/officeDocument/2006/relationships/tags" Target="../tags/tag197.xml"/><Relationship Id="rId207" Type="http://schemas.openxmlformats.org/officeDocument/2006/relationships/tags" Target="../tags/tag211.xml"/><Relationship Id="rId228" Type="http://schemas.openxmlformats.org/officeDocument/2006/relationships/tags" Target="../tags/tag232.xml"/><Relationship Id="rId249" Type="http://schemas.openxmlformats.org/officeDocument/2006/relationships/tags" Target="../tags/tag253.xml"/><Relationship Id="rId13" Type="http://schemas.openxmlformats.org/officeDocument/2006/relationships/tags" Target="../tags/tag17.xml"/><Relationship Id="rId109" Type="http://schemas.openxmlformats.org/officeDocument/2006/relationships/tags" Target="../tags/tag113.xml"/><Relationship Id="rId260" Type="http://schemas.openxmlformats.org/officeDocument/2006/relationships/tags" Target="../tags/tag264.xml"/><Relationship Id="rId281" Type="http://schemas.openxmlformats.org/officeDocument/2006/relationships/tags" Target="../tags/tag285.xml"/><Relationship Id="rId34" Type="http://schemas.openxmlformats.org/officeDocument/2006/relationships/tags" Target="../tags/tag38.xml"/><Relationship Id="rId55" Type="http://schemas.openxmlformats.org/officeDocument/2006/relationships/tags" Target="../tags/tag59.xml"/><Relationship Id="rId76" Type="http://schemas.openxmlformats.org/officeDocument/2006/relationships/tags" Target="../tags/tag80.xml"/><Relationship Id="rId97" Type="http://schemas.openxmlformats.org/officeDocument/2006/relationships/tags" Target="../tags/tag101.xml"/><Relationship Id="rId120" Type="http://schemas.openxmlformats.org/officeDocument/2006/relationships/tags" Target="../tags/tag124.xml"/><Relationship Id="rId141" Type="http://schemas.openxmlformats.org/officeDocument/2006/relationships/tags" Target="../tags/tag145.xml"/><Relationship Id="rId7" Type="http://schemas.openxmlformats.org/officeDocument/2006/relationships/tags" Target="../tags/tag11.xml"/><Relationship Id="rId162" Type="http://schemas.openxmlformats.org/officeDocument/2006/relationships/tags" Target="../tags/tag166.xml"/><Relationship Id="rId183" Type="http://schemas.openxmlformats.org/officeDocument/2006/relationships/tags" Target="../tags/tag187.xml"/><Relationship Id="rId218" Type="http://schemas.openxmlformats.org/officeDocument/2006/relationships/tags" Target="../tags/tag222.xml"/><Relationship Id="rId239" Type="http://schemas.openxmlformats.org/officeDocument/2006/relationships/tags" Target="../tags/tag243.xml"/><Relationship Id="rId250" Type="http://schemas.openxmlformats.org/officeDocument/2006/relationships/tags" Target="../tags/tag254.xml"/><Relationship Id="rId271" Type="http://schemas.openxmlformats.org/officeDocument/2006/relationships/tags" Target="../tags/tag275.xml"/><Relationship Id="rId24" Type="http://schemas.openxmlformats.org/officeDocument/2006/relationships/tags" Target="../tags/tag28.xml"/><Relationship Id="rId45" Type="http://schemas.openxmlformats.org/officeDocument/2006/relationships/tags" Target="../tags/tag49.xml"/><Relationship Id="rId66" Type="http://schemas.openxmlformats.org/officeDocument/2006/relationships/tags" Target="../tags/tag70.xml"/><Relationship Id="rId87" Type="http://schemas.openxmlformats.org/officeDocument/2006/relationships/tags" Target="../tags/tag91.xml"/><Relationship Id="rId110" Type="http://schemas.openxmlformats.org/officeDocument/2006/relationships/tags" Target="../tags/tag114.xml"/><Relationship Id="rId131" Type="http://schemas.openxmlformats.org/officeDocument/2006/relationships/tags" Target="../tags/tag135.xml"/><Relationship Id="rId152" Type="http://schemas.openxmlformats.org/officeDocument/2006/relationships/tags" Target="../tags/tag156.xml"/><Relationship Id="rId173" Type="http://schemas.openxmlformats.org/officeDocument/2006/relationships/tags" Target="../tags/tag177.xml"/><Relationship Id="rId194" Type="http://schemas.openxmlformats.org/officeDocument/2006/relationships/tags" Target="../tags/tag198.xml"/><Relationship Id="rId208" Type="http://schemas.openxmlformats.org/officeDocument/2006/relationships/tags" Target="../tags/tag212.xml"/><Relationship Id="rId229" Type="http://schemas.openxmlformats.org/officeDocument/2006/relationships/tags" Target="../tags/tag233.xml"/><Relationship Id="rId240" Type="http://schemas.openxmlformats.org/officeDocument/2006/relationships/tags" Target="../tags/tag244.xml"/><Relationship Id="rId261" Type="http://schemas.openxmlformats.org/officeDocument/2006/relationships/tags" Target="../tags/tag265.xml"/><Relationship Id="rId14" Type="http://schemas.openxmlformats.org/officeDocument/2006/relationships/tags" Target="../tags/tag18.xml"/><Relationship Id="rId35" Type="http://schemas.openxmlformats.org/officeDocument/2006/relationships/tags" Target="../tags/tag39.xml"/><Relationship Id="rId56" Type="http://schemas.openxmlformats.org/officeDocument/2006/relationships/tags" Target="../tags/tag60.xml"/><Relationship Id="rId77" Type="http://schemas.openxmlformats.org/officeDocument/2006/relationships/tags" Target="../tags/tag81.xml"/><Relationship Id="rId100" Type="http://schemas.openxmlformats.org/officeDocument/2006/relationships/tags" Target="../tags/tag104.xml"/><Relationship Id="rId282" Type="http://schemas.openxmlformats.org/officeDocument/2006/relationships/tags" Target="../tags/tag286.xml"/><Relationship Id="rId8" Type="http://schemas.openxmlformats.org/officeDocument/2006/relationships/tags" Target="../tags/tag12.xml"/><Relationship Id="rId98" Type="http://schemas.openxmlformats.org/officeDocument/2006/relationships/tags" Target="../tags/tag102.xml"/><Relationship Id="rId121" Type="http://schemas.openxmlformats.org/officeDocument/2006/relationships/tags" Target="../tags/tag125.xml"/><Relationship Id="rId142" Type="http://schemas.openxmlformats.org/officeDocument/2006/relationships/tags" Target="../tags/tag146.xml"/><Relationship Id="rId163" Type="http://schemas.openxmlformats.org/officeDocument/2006/relationships/tags" Target="../tags/tag167.xml"/><Relationship Id="rId184" Type="http://schemas.openxmlformats.org/officeDocument/2006/relationships/tags" Target="../tags/tag188.xml"/><Relationship Id="rId219" Type="http://schemas.openxmlformats.org/officeDocument/2006/relationships/tags" Target="../tags/tag223.xml"/><Relationship Id="rId230" Type="http://schemas.openxmlformats.org/officeDocument/2006/relationships/tags" Target="../tags/tag234.xml"/><Relationship Id="rId251" Type="http://schemas.openxmlformats.org/officeDocument/2006/relationships/tags" Target="../tags/tag255.xml"/><Relationship Id="rId25" Type="http://schemas.openxmlformats.org/officeDocument/2006/relationships/tags" Target="../tags/tag29.xml"/><Relationship Id="rId46" Type="http://schemas.openxmlformats.org/officeDocument/2006/relationships/tags" Target="../tags/tag50.xml"/><Relationship Id="rId67" Type="http://schemas.openxmlformats.org/officeDocument/2006/relationships/tags" Target="../tags/tag71.xml"/><Relationship Id="rId272" Type="http://schemas.openxmlformats.org/officeDocument/2006/relationships/tags" Target="../tags/tag276.xml"/><Relationship Id="rId88" Type="http://schemas.openxmlformats.org/officeDocument/2006/relationships/tags" Target="../tags/tag92.xml"/><Relationship Id="rId111" Type="http://schemas.openxmlformats.org/officeDocument/2006/relationships/tags" Target="../tags/tag115.xml"/><Relationship Id="rId132" Type="http://schemas.openxmlformats.org/officeDocument/2006/relationships/tags" Target="../tags/tag136.xml"/><Relationship Id="rId153" Type="http://schemas.openxmlformats.org/officeDocument/2006/relationships/tags" Target="../tags/tag157.xml"/><Relationship Id="rId174" Type="http://schemas.openxmlformats.org/officeDocument/2006/relationships/tags" Target="../tags/tag178.xml"/><Relationship Id="rId195" Type="http://schemas.openxmlformats.org/officeDocument/2006/relationships/tags" Target="../tags/tag199.xml"/><Relationship Id="rId209" Type="http://schemas.openxmlformats.org/officeDocument/2006/relationships/tags" Target="../tags/tag213.xml"/><Relationship Id="rId220" Type="http://schemas.openxmlformats.org/officeDocument/2006/relationships/tags" Target="../tags/tag224.xml"/><Relationship Id="rId241" Type="http://schemas.openxmlformats.org/officeDocument/2006/relationships/tags" Target="../tags/tag245.xml"/><Relationship Id="rId15" Type="http://schemas.openxmlformats.org/officeDocument/2006/relationships/tags" Target="../tags/tag19.xml"/><Relationship Id="rId36" Type="http://schemas.openxmlformats.org/officeDocument/2006/relationships/tags" Target="../tags/tag40.xml"/><Relationship Id="rId57" Type="http://schemas.openxmlformats.org/officeDocument/2006/relationships/tags" Target="../tags/tag61.xml"/><Relationship Id="rId262" Type="http://schemas.openxmlformats.org/officeDocument/2006/relationships/tags" Target="../tags/tag266.xml"/><Relationship Id="rId283" Type="http://schemas.openxmlformats.org/officeDocument/2006/relationships/tags" Target="../tags/tag287.xml"/><Relationship Id="rId78" Type="http://schemas.openxmlformats.org/officeDocument/2006/relationships/tags" Target="../tags/tag82.xml"/><Relationship Id="rId99" Type="http://schemas.openxmlformats.org/officeDocument/2006/relationships/tags" Target="../tags/tag103.xml"/><Relationship Id="rId101" Type="http://schemas.openxmlformats.org/officeDocument/2006/relationships/tags" Target="../tags/tag105.xml"/><Relationship Id="rId122" Type="http://schemas.openxmlformats.org/officeDocument/2006/relationships/tags" Target="../tags/tag126.xml"/><Relationship Id="rId143" Type="http://schemas.openxmlformats.org/officeDocument/2006/relationships/tags" Target="../tags/tag147.xml"/><Relationship Id="rId164" Type="http://schemas.openxmlformats.org/officeDocument/2006/relationships/tags" Target="../tags/tag168.xml"/><Relationship Id="rId185" Type="http://schemas.openxmlformats.org/officeDocument/2006/relationships/tags" Target="../tags/tag189.xml"/><Relationship Id="rId9" Type="http://schemas.openxmlformats.org/officeDocument/2006/relationships/tags" Target="../tags/tag13.xml"/><Relationship Id="rId210" Type="http://schemas.openxmlformats.org/officeDocument/2006/relationships/tags" Target="../tags/tag214.xml"/><Relationship Id="rId26" Type="http://schemas.openxmlformats.org/officeDocument/2006/relationships/tags" Target="../tags/tag30.xml"/><Relationship Id="rId231" Type="http://schemas.openxmlformats.org/officeDocument/2006/relationships/tags" Target="../tags/tag235.xml"/><Relationship Id="rId252" Type="http://schemas.openxmlformats.org/officeDocument/2006/relationships/tags" Target="../tags/tag256.xml"/><Relationship Id="rId273" Type="http://schemas.openxmlformats.org/officeDocument/2006/relationships/tags" Target="../tags/tag277.xml"/><Relationship Id="rId47" Type="http://schemas.openxmlformats.org/officeDocument/2006/relationships/tags" Target="../tags/tag51.xml"/><Relationship Id="rId68" Type="http://schemas.openxmlformats.org/officeDocument/2006/relationships/tags" Target="../tags/tag72.xml"/><Relationship Id="rId89" Type="http://schemas.openxmlformats.org/officeDocument/2006/relationships/tags" Target="../tags/tag93.xml"/><Relationship Id="rId112" Type="http://schemas.openxmlformats.org/officeDocument/2006/relationships/tags" Target="../tags/tag116.xml"/><Relationship Id="rId133" Type="http://schemas.openxmlformats.org/officeDocument/2006/relationships/tags" Target="../tags/tag137.xml"/><Relationship Id="rId154" Type="http://schemas.openxmlformats.org/officeDocument/2006/relationships/tags" Target="../tags/tag158.xml"/><Relationship Id="rId175" Type="http://schemas.openxmlformats.org/officeDocument/2006/relationships/tags" Target="../tags/tag179.xml"/><Relationship Id="rId196" Type="http://schemas.openxmlformats.org/officeDocument/2006/relationships/tags" Target="../tags/tag200.xml"/><Relationship Id="rId200" Type="http://schemas.openxmlformats.org/officeDocument/2006/relationships/tags" Target="../tags/tag204.xml"/><Relationship Id="rId16" Type="http://schemas.openxmlformats.org/officeDocument/2006/relationships/tags" Target="../tags/tag20.xml"/><Relationship Id="rId221" Type="http://schemas.openxmlformats.org/officeDocument/2006/relationships/tags" Target="../tags/tag225.xml"/><Relationship Id="rId242" Type="http://schemas.openxmlformats.org/officeDocument/2006/relationships/tags" Target="../tags/tag246.xml"/><Relationship Id="rId263" Type="http://schemas.openxmlformats.org/officeDocument/2006/relationships/tags" Target="../tags/tag267.xml"/><Relationship Id="rId284" Type="http://schemas.openxmlformats.org/officeDocument/2006/relationships/tags" Target="../tags/tag288.xml"/><Relationship Id="rId37" Type="http://schemas.openxmlformats.org/officeDocument/2006/relationships/tags" Target="../tags/tag41.xml"/><Relationship Id="rId58" Type="http://schemas.openxmlformats.org/officeDocument/2006/relationships/tags" Target="../tags/tag62.xml"/><Relationship Id="rId79" Type="http://schemas.openxmlformats.org/officeDocument/2006/relationships/tags" Target="../tags/tag83.xml"/><Relationship Id="rId102" Type="http://schemas.openxmlformats.org/officeDocument/2006/relationships/tags" Target="../tags/tag106.xml"/><Relationship Id="rId123" Type="http://schemas.openxmlformats.org/officeDocument/2006/relationships/tags" Target="../tags/tag127.xml"/><Relationship Id="rId144" Type="http://schemas.openxmlformats.org/officeDocument/2006/relationships/tags" Target="../tags/tag148.xml"/><Relationship Id="rId90" Type="http://schemas.openxmlformats.org/officeDocument/2006/relationships/tags" Target="../tags/tag94.xml"/><Relationship Id="rId165" Type="http://schemas.openxmlformats.org/officeDocument/2006/relationships/tags" Target="../tags/tag169.xml"/><Relationship Id="rId186" Type="http://schemas.openxmlformats.org/officeDocument/2006/relationships/tags" Target="../tags/tag190.xml"/><Relationship Id="rId211" Type="http://schemas.openxmlformats.org/officeDocument/2006/relationships/tags" Target="../tags/tag215.xml"/><Relationship Id="rId232" Type="http://schemas.openxmlformats.org/officeDocument/2006/relationships/tags" Target="../tags/tag236.xml"/><Relationship Id="rId253" Type="http://schemas.openxmlformats.org/officeDocument/2006/relationships/tags" Target="../tags/tag257.xml"/><Relationship Id="rId274" Type="http://schemas.openxmlformats.org/officeDocument/2006/relationships/tags" Target="../tags/tag278.xml"/><Relationship Id="rId27" Type="http://schemas.openxmlformats.org/officeDocument/2006/relationships/tags" Target="../tags/tag31.xml"/><Relationship Id="rId48" Type="http://schemas.openxmlformats.org/officeDocument/2006/relationships/tags" Target="../tags/tag52.xml"/><Relationship Id="rId69" Type="http://schemas.openxmlformats.org/officeDocument/2006/relationships/tags" Target="../tags/tag73.xml"/><Relationship Id="rId113" Type="http://schemas.openxmlformats.org/officeDocument/2006/relationships/tags" Target="../tags/tag117.xml"/><Relationship Id="rId134" Type="http://schemas.openxmlformats.org/officeDocument/2006/relationships/tags" Target="../tags/tag138.xml"/><Relationship Id="rId80" Type="http://schemas.openxmlformats.org/officeDocument/2006/relationships/tags" Target="../tags/tag84.xml"/><Relationship Id="rId155" Type="http://schemas.openxmlformats.org/officeDocument/2006/relationships/tags" Target="../tags/tag159.xml"/><Relationship Id="rId176" Type="http://schemas.openxmlformats.org/officeDocument/2006/relationships/tags" Target="../tags/tag180.xml"/><Relationship Id="rId197" Type="http://schemas.openxmlformats.org/officeDocument/2006/relationships/tags" Target="../tags/tag201.xml"/><Relationship Id="rId201" Type="http://schemas.openxmlformats.org/officeDocument/2006/relationships/tags" Target="../tags/tag205.xml"/><Relationship Id="rId222" Type="http://schemas.openxmlformats.org/officeDocument/2006/relationships/tags" Target="../tags/tag226.xml"/><Relationship Id="rId243" Type="http://schemas.openxmlformats.org/officeDocument/2006/relationships/tags" Target="../tags/tag247.xml"/><Relationship Id="rId264" Type="http://schemas.openxmlformats.org/officeDocument/2006/relationships/tags" Target="../tags/tag268.xml"/><Relationship Id="rId285" Type="http://schemas.openxmlformats.org/officeDocument/2006/relationships/slideLayout" Target="../slideLayouts/slideLayout2.xml"/><Relationship Id="rId17" Type="http://schemas.openxmlformats.org/officeDocument/2006/relationships/tags" Target="../tags/tag21.xml"/><Relationship Id="rId38" Type="http://schemas.openxmlformats.org/officeDocument/2006/relationships/tags" Target="../tags/tag42.xml"/><Relationship Id="rId59" Type="http://schemas.openxmlformats.org/officeDocument/2006/relationships/tags" Target="../tags/tag63.xml"/><Relationship Id="rId103" Type="http://schemas.openxmlformats.org/officeDocument/2006/relationships/tags" Target="../tags/tag107.xml"/><Relationship Id="rId124" Type="http://schemas.openxmlformats.org/officeDocument/2006/relationships/tags" Target="../tags/tag128.xml"/><Relationship Id="rId70" Type="http://schemas.openxmlformats.org/officeDocument/2006/relationships/tags" Target="../tags/tag74.xml"/><Relationship Id="rId91" Type="http://schemas.openxmlformats.org/officeDocument/2006/relationships/tags" Target="../tags/tag95.xml"/><Relationship Id="rId145" Type="http://schemas.openxmlformats.org/officeDocument/2006/relationships/tags" Target="../tags/tag149.xml"/><Relationship Id="rId166" Type="http://schemas.openxmlformats.org/officeDocument/2006/relationships/tags" Target="../tags/tag170.xml"/><Relationship Id="rId187" Type="http://schemas.openxmlformats.org/officeDocument/2006/relationships/tags" Target="../tags/tag191.xml"/><Relationship Id="rId1" Type="http://schemas.openxmlformats.org/officeDocument/2006/relationships/vmlDrawing" Target="../drawings/vmlDrawing3.vml"/><Relationship Id="rId212" Type="http://schemas.openxmlformats.org/officeDocument/2006/relationships/tags" Target="../tags/tag216.xml"/><Relationship Id="rId233" Type="http://schemas.openxmlformats.org/officeDocument/2006/relationships/tags" Target="../tags/tag237.xml"/><Relationship Id="rId254" Type="http://schemas.openxmlformats.org/officeDocument/2006/relationships/tags" Target="../tags/tag258.xml"/><Relationship Id="rId28" Type="http://schemas.openxmlformats.org/officeDocument/2006/relationships/tags" Target="../tags/tag32.xml"/><Relationship Id="rId49" Type="http://schemas.openxmlformats.org/officeDocument/2006/relationships/tags" Target="../tags/tag53.xml"/><Relationship Id="rId114" Type="http://schemas.openxmlformats.org/officeDocument/2006/relationships/tags" Target="../tags/tag118.xml"/><Relationship Id="rId275" Type="http://schemas.openxmlformats.org/officeDocument/2006/relationships/tags" Target="../tags/tag279.xml"/><Relationship Id="rId60" Type="http://schemas.openxmlformats.org/officeDocument/2006/relationships/tags" Target="../tags/tag64.xml"/><Relationship Id="rId81" Type="http://schemas.openxmlformats.org/officeDocument/2006/relationships/tags" Target="../tags/tag85.xml"/><Relationship Id="rId135" Type="http://schemas.openxmlformats.org/officeDocument/2006/relationships/tags" Target="../tags/tag139.xml"/><Relationship Id="rId156" Type="http://schemas.openxmlformats.org/officeDocument/2006/relationships/tags" Target="../tags/tag160.xml"/><Relationship Id="rId177" Type="http://schemas.openxmlformats.org/officeDocument/2006/relationships/tags" Target="../tags/tag181.xml"/><Relationship Id="rId198" Type="http://schemas.openxmlformats.org/officeDocument/2006/relationships/tags" Target="../tags/tag202.xml"/><Relationship Id="rId202" Type="http://schemas.openxmlformats.org/officeDocument/2006/relationships/tags" Target="../tags/tag206.xml"/><Relationship Id="rId223" Type="http://schemas.openxmlformats.org/officeDocument/2006/relationships/tags" Target="../tags/tag227.xml"/><Relationship Id="rId244" Type="http://schemas.openxmlformats.org/officeDocument/2006/relationships/tags" Target="../tags/tag248.xml"/><Relationship Id="rId18" Type="http://schemas.openxmlformats.org/officeDocument/2006/relationships/tags" Target="../tags/tag22.xml"/><Relationship Id="rId39" Type="http://schemas.openxmlformats.org/officeDocument/2006/relationships/tags" Target="../tags/tag43.xml"/><Relationship Id="rId265" Type="http://schemas.openxmlformats.org/officeDocument/2006/relationships/tags" Target="../tags/tag269.xml"/><Relationship Id="rId286" Type="http://schemas.openxmlformats.org/officeDocument/2006/relationships/oleObject" Target="../embeddings/oleObject3.bin"/><Relationship Id="rId50" Type="http://schemas.openxmlformats.org/officeDocument/2006/relationships/tags" Target="../tags/tag54.xml"/><Relationship Id="rId104" Type="http://schemas.openxmlformats.org/officeDocument/2006/relationships/tags" Target="../tags/tag108.xml"/><Relationship Id="rId125" Type="http://schemas.openxmlformats.org/officeDocument/2006/relationships/tags" Target="../tags/tag129.xml"/><Relationship Id="rId146" Type="http://schemas.openxmlformats.org/officeDocument/2006/relationships/tags" Target="../tags/tag150.xml"/><Relationship Id="rId167" Type="http://schemas.openxmlformats.org/officeDocument/2006/relationships/tags" Target="../tags/tag171.xml"/><Relationship Id="rId188" Type="http://schemas.openxmlformats.org/officeDocument/2006/relationships/tags" Target="../tags/tag192.xml"/><Relationship Id="rId71" Type="http://schemas.openxmlformats.org/officeDocument/2006/relationships/tags" Target="../tags/tag75.xml"/><Relationship Id="rId92" Type="http://schemas.openxmlformats.org/officeDocument/2006/relationships/tags" Target="../tags/tag96.xml"/><Relationship Id="rId213" Type="http://schemas.openxmlformats.org/officeDocument/2006/relationships/tags" Target="../tags/tag217.xml"/><Relationship Id="rId234" Type="http://schemas.openxmlformats.org/officeDocument/2006/relationships/tags" Target="../tags/tag238.xml"/><Relationship Id="rId2" Type="http://schemas.openxmlformats.org/officeDocument/2006/relationships/tags" Target="../tags/tag6.xml"/><Relationship Id="rId29" Type="http://schemas.openxmlformats.org/officeDocument/2006/relationships/tags" Target="../tags/tag33.xml"/><Relationship Id="rId255" Type="http://schemas.openxmlformats.org/officeDocument/2006/relationships/tags" Target="../tags/tag259.xml"/><Relationship Id="rId276" Type="http://schemas.openxmlformats.org/officeDocument/2006/relationships/tags" Target="../tags/tag280.xml"/><Relationship Id="rId40" Type="http://schemas.openxmlformats.org/officeDocument/2006/relationships/tags" Target="../tags/tag44.xml"/><Relationship Id="rId115" Type="http://schemas.openxmlformats.org/officeDocument/2006/relationships/tags" Target="../tags/tag119.xml"/><Relationship Id="rId136" Type="http://schemas.openxmlformats.org/officeDocument/2006/relationships/tags" Target="../tags/tag140.xml"/><Relationship Id="rId157" Type="http://schemas.openxmlformats.org/officeDocument/2006/relationships/tags" Target="../tags/tag161.xml"/><Relationship Id="rId178" Type="http://schemas.openxmlformats.org/officeDocument/2006/relationships/tags" Target="../tags/tag182.xml"/><Relationship Id="rId61" Type="http://schemas.openxmlformats.org/officeDocument/2006/relationships/tags" Target="../tags/tag65.xml"/><Relationship Id="rId82" Type="http://schemas.openxmlformats.org/officeDocument/2006/relationships/tags" Target="../tags/tag86.xml"/><Relationship Id="rId199" Type="http://schemas.openxmlformats.org/officeDocument/2006/relationships/tags" Target="../tags/tag203.xml"/><Relationship Id="rId203" Type="http://schemas.openxmlformats.org/officeDocument/2006/relationships/tags" Target="../tags/tag207.xml"/><Relationship Id="rId19" Type="http://schemas.openxmlformats.org/officeDocument/2006/relationships/tags" Target="../tags/tag23.xml"/><Relationship Id="rId224" Type="http://schemas.openxmlformats.org/officeDocument/2006/relationships/tags" Target="../tags/tag228.xml"/><Relationship Id="rId245" Type="http://schemas.openxmlformats.org/officeDocument/2006/relationships/tags" Target="../tags/tag249.xml"/><Relationship Id="rId266" Type="http://schemas.openxmlformats.org/officeDocument/2006/relationships/tags" Target="../tags/tag270.xml"/><Relationship Id="rId287" Type="http://schemas.openxmlformats.org/officeDocument/2006/relationships/image" Target="../media/image1.emf"/><Relationship Id="rId30" Type="http://schemas.openxmlformats.org/officeDocument/2006/relationships/tags" Target="../tags/tag34.xml"/><Relationship Id="rId105" Type="http://schemas.openxmlformats.org/officeDocument/2006/relationships/tags" Target="../tags/tag109.xml"/><Relationship Id="rId126" Type="http://schemas.openxmlformats.org/officeDocument/2006/relationships/tags" Target="../tags/tag130.xml"/><Relationship Id="rId147" Type="http://schemas.openxmlformats.org/officeDocument/2006/relationships/tags" Target="../tags/tag151.xml"/><Relationship Id="rId168" Type="http://schemas.openxmlformats.org/officeDocument/2006/relationships/tags" Target="../tags/tag172.xml"/><Relationship Id="rId51" Type="http://schemas.openxmlformats.org/officeDocument/2006/relationships/tags" Target="../tags/tag55.xml"/><Relationship Id="rId72" Type="http://schemas.openxmlformats.org/officeDocument/2006/relationships/tags" Target="../tags/tag76.xml"/><Relationship Id="rId93" Type="http://schemas.openxmlformats.org/officeDocument/2006/relationships/tags" Target="../tags/tag97.xml"/><Relationship Id="rId189" Type="http://schemas.openxmlformats.org/officeDocument/2006/relationships/tags" Target="../tags/tag193.xml"/><Relationship Id="rId3" Type="http://schemas.openxmlformats.org/officeDocument/2006/relationships/tags" Target="../tags/tag7.xml"/><Relationship Id="rId214" Type="http://schemas.openxmlformats.org/officeDocument/2006/relationships/tags" Target="../tags/tag218.xml"/><Relationship Id="rId235" Type="http://schemas.openxmlformats.org/officeDocument/2006/relationships/tags" Target="../tags/tag239.xml"/><Relationship Id="rId256" Type="http://schemas.openxmlformats.org/officeDocument/2006/relationships/tags" Target="../tags/tag260.xml"/><Relationship Id="rId277" Type="http://schemas.openxmlformats.org/officeDocument/2006/relationships/tags" Target="../tags/tag281.xml"/><Relationship Id="rId116" Type="http://schemas.openxmlformats.org/officeDocument/2006/relationships/tags" Target="../tags/tag120.xml"/><Relationship Id="rId137" Type="http://schemas.openxmlformats.org/officeDocument/2006/relationships/tags" Target="../tags/tag141.xml"/><Relationship Id="rId158" Type="http://schemas.openxmlformats.org/officeDocument/2006/relationships/tags" Target="../tags/tag162.xml"/><Relationship Id="rId20" Type="http://schemas.openxmlformats.org/officeDocument/2006/relationships/tags" Target="../tags/tag24.xml"/><Relationship Id="rId41" Type="http://schemas.openxmlformats.org/officeDocument/2006/relationships/tags" Target="../tags/tag45.xml"/><Relationship Id="rId62" Type="http://schemas.openxmlformats.org/officeDocument/2006/relationships/tags" Target="../tags/tag66.xml"/><Relationship Id="rId83" Type="http://schemas.openxmlformats.org/officeDocument/2006/relationships/tags" Target="../tags/tag87.xml"/><Relationship Id="rId179" Type="http://schemas.openxmlformats.org/officeDocument/2006/relationships/tags" Target="../tags/tag183.xml"/><Relationship Id="rId190" Type="http://schemas.openxmlformats.org/officeDocument/2006/relationships/tags" Target="../tags/tag194.xml"/><Relationship Id="rId204" Type="http://schemas.openxmlformats.org/officeDocument/2006/relationships/tags" Target="../tags/tag208.xml"/><Relationship Id="rId225" Type="http://schemas.openxmlformats.org/officeDocument/2006/relationships/tags" Target="../tags/tag229.xml"/><Relationship Id="rId246" Type="http://schemas.openxmlformats.org/officeDocument/2006/relationships/tags" Target="../tags/tag250.xml"/><Relationship Id="rId267" Type="http://schemas.openxmlformats.org/officeDocument/2006/relationships/tags" Target="../tags/tag271.xml"/><Relationship Id="rId288" Type="http://schemas.openxmlformats.org/officeDocument/2006/relationships/chart" Target="../charts/chart1.xml"/><Relationship Id="rId106" Type="http://schemas.openxmlformats.org/officeDocument/2006/relationships/tags" Target="../tags/tag110.xml"/><Relationship Id="rId127" Type="http://schemas.openxmlformats.org/officeDocument/2006/relationships/tags" Target="../tags/tag131.xml"/><Relationship Id="rId10" Type="http://schemas.openxmlformats.org/officeDocument/2006/relationships/tags" Target="../tags/tag14.xml"/><Relationship Id="rId31" Type="http://schemas.openxmlformats.org/officeDocument/2006/relationships/tags" Target="../tags/tag35.xml"/><Relationship Id="rId52" Type="http://schemas.openxmlformats.org/officeDocument/2006/relationships/tags" Target="../tags/tag56.xml"/><Relationship Id="rId73" Type="http://schemas.openxmlformats.org/officeDocument/2006/relationships/tags" Target="../tags/tag77.xml"/><Relationship Id="rId94" Type="http://schemas.openxmlformats.org/officeDocument/2006/relationships/tags" Target="../tags/tag98.xml"/><Relationship Id="rId148" Type="http://schemas.openxmlformats.org/officeDocument/2006/relationships/tags" Target="../tags/tag152.xml"/><Relationship Id="rId169" Type="http://schemas.openxmlformats.org/officeDocument/2006/relationships/tags" Target="../tags/tag173.xml"/><Relationship Id="rId4" Type="http://schemas.openxmlformats.org/officeDocument/2006/relationships/tags" Target="../tags/tag8.xml"/><Relationship Id="rId180" Type="http://schemas.openxmlformats.org/officeDocument/2006/relationships/tags" Target="../tags/tag184.xml"/><Relationship Id="rId215" Type="http://schemas.openxmlformats.org/officeDocument/2006/relationships/tags" Target="../tags/tag219.xml"/><Relationship Id="rId236" Type="http://schemas.openxmlformats.org/officeDocument/2006/relationships/tags" Target="../tags/tag240.xml"/><Relationship Id="rId257" Type="http://schemas.openxmlformats.org/officeDocument/2006/relationships/tags" Target="../tags/tag261.xml"/><Relationship Id="rId278" Type="http://schemas.openxmlformats.org/officeDocument/2006/relationships/tags" Target="../tags/tag282.xml"/><Relationship Id="rId42" Type="http://schemas.openxmlformats.org/officeDocument/2006/relationships/tags" Target="../tags/tag46.xml"/><Relationship Id="rId84" Type="http://schemas.openxmlformats.org/officeDocument/2006/relationships/tags" Target="../tags/tag88.xml"/><Relationship Id="rId138" Type="http://schemas.openxmlformats.org/officeDocument/2006/relationships/tags" Target="../tags/tag142.xml"/><Relationship Id="rId191" Type="http://schemas.openxmlformats.org/officeDocument/2006/relationships/tags" Target="../tags/tag195.xml"/><Relationship Id="rId205" Type="http://schemas.openxmlformats.org/officeDocument/2006/relationships/tags" Target="../tags/tag209.xml"/><Relationship Id="rId247" Type="http://schemas.openxmlformats.org/officeDocument/2006/relationships/tags" Target="../tags/tag251.xml"/><Relationship Id="rId107" Type="http://schemas.openxmlformats.org/officeDocument/2006/relationships/tags" Target="../tags/tag111.xml"/><Relationship Id="rId11" Type="http://schemas.openxmlformats.org/officeDocument/2006/relationships/tags" Target="../tags/tag15.xml"/><Relationship Id="rId53" Type="http://schemas.openxmlformats.org/officeDocument/2006/relationships/tags" Target="../tags/tag57.xml"/><Relationship Id="rId149" Type="http://schemas.openxmlformats.org/officeDocument/2006/relationships/tags" Target="../tags/tag153.xml"/><Relationship Id="rId95" Type="http://schemas.openxmlformats.org/officeDocument/2006/relationships/tags" Target="../tags/tag99.xml"/><Relationship Id="rId160" Type="http://schemas.openxmlformats.org/officeDocument/2006/relationships/tags" Target="../tags/tag164.xml"/><Relationship Id="rId216" Type="http://schemas.openxmlformats.org/officeDocument/2006/relationships/tags" Target="../tags/tag220.xml"/><Relationship Id="rId258" Type="http://schemas.openxmlformats.org/officeDocument/2006/relationships/tags" Target="../tags/tag262.xml"/><Relationship Id="rId22" Type="http://schemas.openxmlformats.org/officeDocument/2006/relationships/tags" Target="../tags/tag26.xml"/><Relationship Id="rId64" Type="http://schemas.openxmlformats.org/officeDocument/2006/relationships/tags" Target="../tags/tag68.xml"/><Relationship Id="rId118" Type="http://schemas.openxmlformats.org/officeDocument/2006/relationships/tags" Target="../tags/tag12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290.xml"/><Relationship Id="rId7" Type="http://schemas.openxmlformats.org/officeDocument/2006/relationships/image" Target="../media/image3.png"/><Relationship Id="rId2" Type="http://schemas.openxmlformats.org/officeDocument/2006/relationships/tags" Target="../tags/tag28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0.png"/><Relationship Id="rId18" Type="http://schemas.openxmlformats.org/officeDocument/2006/relationships/image" Target="../media/image15.png"/><Relationship Id="rId3" Type="http://schemas.openxmlformats.org/officeDocument/2006/relationships/tags" Target="../tags/tag292.xml"/><Relationship Id="rId21" Type="http://schemas.openxmlformats.org/officeDocument/2006/relationships/image" Target="../media/image18.png"/><Relationship Id="rId7" Type="http://schemas.openxmlformats.org/officeDocument/2006/relationships/image" Target="../media/image4.png"/><Relationship Id="rId12" Type="http://schemas.openxmlformats.org/officeDocument/2006/relationships/image" Target="../media/image9.png"/><Relationship Id="rId17" Type="http://schemas.openxmlformats.org/officeDocument/2006/relationships/image" Target="../media/image14.png"/><Relationship Id="rId2" Type="http://schemas.openxmlformats.org/officeDocument/2006/relationships/tags" Target="../tags/tag291.xml"/><Relationship Id="rId16" Type="http://schemas.openxmlformats.org/officeDocument/2006/relationships/image" Target="../media/image13.png"/><Relationship Id="rId20" Type="http://schemas.openxmlformats.org/officeDocument/2006/relationships/image" Target="../media/image17.png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11" Type="http://schemas.openxmlformats.org/officeDocument/2006/relationships/image" Target="../media/image8.png"/><Relationship Id="rId24" Type="http://schemas.openxmlformats.org/officeDocument/2006/relationships/image" Target="../media/image21.png"/><Relationship Id="rId5" Type="http://schemas.openxmlformats.org/officeDocument/2006/relationships/oleObject" Target="../embeddings/oleObject5.bin"/><Relationship Id="rId15" Type="http://schemas.openxmlformats.org/officeDocument/2006/relationships/image" Target="../media/image12.png"/><Relationship Id="rId23" Type="http://schemas.openxmlformats.org/officeDocument/2006/relationships/image" Target="../media/image20.png"/><Relationship Id="rId10" Type="http://schemas.openxmlformats.org/officeDocument/2006/relationships/image" Target="../media/image7.png"/><Relationship Id="rId19" Type="http://schemas.openxmlformats.org/officeDocument/2006/relationships/image" Target="../media/image16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png"/><Relationship Id="rId14" Type="http://schemas.openxmlformats.org/officeDocument/2006/relationships/image" Target="../media/image11.png"/><Relationship Id="rId22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13" Type="http://schemas.openxmlformats.org/officeDocument/2006/relationships/image" Target="../media/image25.png"/><Relationship Id="rId18" Type="http://schemas.openxmlformats.org/officeDocument/2006/relationships/image" Target="../media/image34.svg"/><Relationship Id="rId3" Type="http://schemas.openxmlformats.org/officeDocument/2006/relationships/tags" Target="../tags/tag294.xml"/><Relationship Id="rId7" Type="http://schemas.openxmlformats.org/officeDocument/2006/relationships/image" Target="../media/image22.png"/><Relationship Id="rId12" Type="http://schemas.openxmlformats.org/officeDocument/2006/relationships/image" Target="../media/image28.svg"/><Relationship Id="rId17" Type="http://schemas.openxmlformats.org/officeDocument/2006/relationships/image" Target="../media/image27.png"/><Relationship Id="rId2" Type="http://schemas.openxmlformats.org/officeDocument/2006/relationships/tags" Target="../tags/tag293.xml"/><Relationship Id="rId16" Type="http://schemas.openxmlformats.org/officeDocument/2006/relationships/image" Target="../media/image32.svg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11" Type="http://schemas.openxmlformats.org/officeDocument/2006/relationships/image" Target="../media/image24.png"/><Relationship Id="rId5" Type="http://schemas.openxmlformats.org/officeDocument/2006/relationships/oleObject" Target="../embeddings/oleObject6.bin"/><Relationship Id="rId15" Type="http://schemas.openxmlformats.org/officeDocument/2006/relationships/image" Target="../media/image26.png"/><Relationship Id="rId10" Type="http://schemas.openxmlformats.org/officeDocument/2006/relationships/image" Target="../media/image26.sv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3.png"/><Relationship Id="rId14" Type="http://schemas.openxmlformats.org/officeDocument/2006/relationships/image" Target="../media/image30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96.xml"/><Relationship Id="rId2" Type="http://schemas.openxmlformats.org/officeDocument/2006/relationships/tags" Target="../tags/tag29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98.xml"/><Relationship Id="rId2" Type="http://schemas.openxmlformats.org/officeDocument/2006/relationships/tags" Target="../tags/tag29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00.xml"/><Relationship Id="rId2" Type="http://schemas.openxmlformats.org/officeDocument/2006/relationships/tags" Target="../tags/tag29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0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03F0276C-BBC4-484A-ABBD-CD2371718A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196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652EFC0C-5A4B-4D79-8638-B4BC4A5F45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ES" sz="2400" dirty="0">
              <a:latin typeface="Book Antiqua" panose="02040602050305030304" pitchFamily="18" charset="0"/>
              <a:ea typeface="+mj-ea"/>
              <a:cs typeface="+mj-cs"/>
              <a:sym typeface="Book Antiqua" panose="02040602050305030304" pitchFamily="18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295401" y="1817313"/>
            <a:ext cx="5785624" cy="2560320"/>
          </a:xfrm>
        </p:spPr>
        <p:txBody>
          <a:bodyPr>
            <a:normAutofit/>
          </a:bodyPr>
          <a:lstStyle/>
          <a:p>
            <a:r>
              <a:rPr lang="es-ES" sz="2400" dirty="0"/>
              <a:t>El Nuevo Profesional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pPr marL="0" indent="0" algn="l">
              <a:buNone/>
            </a:pPr>
            <a:r>
              <a:rPr lang="es-ES" sz="1800" dirty="0"/>
              <a:t>Universidad de Concepción, 1° diciembre 2020</a:t>
            </a:r>
            <a:endParaRPr lang="es-ES" sz="2000" dirty="0"/>
          </a:p>
        </p:txBody>
      </p:sp>
      <p:pic>
        <p:nvPicPr>
          <p:cNvPr id="7" name="Picture Placeholder 6">
            <a:extLst>
              <a:ext uri="{FF2B5EF4-FFF2-40B4-BE49-F238E27FC236}">
                <a16:creationId xmlns="" xmlns:a16="http://schemas.microsoft.com/office/drawing/2014/main" id="{32772345-6A9D-4939-AC6C-27AD28232A4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583" r="20583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380595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295400" y="3236494"/>
            <a:ext cx="6400800" cy="2560320"/>
          </a:xfrm>
        </p:spPr>
        <p:txBody>
          <a:bodyPr/>
          <a:lstStyle/>
          <a:p>
            <a:pPr algn="r"/>
            <a:r>
              <a:rPr lang="es-CL" noProof="1"/>
              <a:t>Muchas gracias</a:t>
            </a:r>
            <a:endParaRPr lang="es-ES" noProof="1"/>
          </a:p>
        </p:txBody>
      </p:sp>
    </p:spTree>
    <p:extLst>
      <p:ext uri="{BB962C8B-B14F-4D97-AF65-F5344CB8AC3E}">
        <p14:creationId xmlns:p14="http://schemas.microsoft.com/office/powerpoint/2010/main" val="1636679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F93EFD43-AA1A-4B0D-8BB1-1EF221DC301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27271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4" name="think-cell Slide" r:id="rId286" imgW="347" imgH="348" progId="TCLayout.ActiveDocument.1">
                  <p:embed/>
                </p:oleObj>
              </mc:Choice>
              <mc:Fallback>
                <p:oleObj name="think-cell Slide" r:id="rId28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>
            <a:extLst>
              <a:ext uri="{FF2B5EF4-FFF2-40B4-BE49-F238E27FC236}">
                <a16:creationId xmlns="" xmlns:a16="http://schemas.microsoft.com/office/drawing/2014/main" id="{5D689BBB-FE00-4570-BDDB-C3490E59EB2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CL" sz="1400" b="1" dirty="0">
              <a:latin typeface="Book Antiqua" panose="02040602050305030304" pitchFamily="18" charset="0"/>
              <a:sym typeface="Book Antiqua" panose="02040602050305030304" pitchFamily="18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 defTabSz="914400">
              <a:lnSpc>
                <a:spcPct val="90000"/>
              </a:lnSpc>
              <a:spcBef>
                <a:spcPts val="0"/>
              </a:spcBef>
              <a:buNone/>
            </a:pPr>
            <a:r>
              <a:rPr lang="es-ES" dirty="0"/>
              <a:t>Contexto</a:t>
            </a:r>
          </a:p>
        </p:txBody>
      </p:sp>
      <p:cxnSp>
        <p:nvCxnSpPr>
          <p:cNvPr id="768" name="Straight Connector 767">
            <a:extLst>
              <a:ext uri="{FF2B5EF4-FFF2-40B4-BE49-F238E27FC236}">
                <a16:creationId xmlns="" xmlns:a16="http://schemas.microsoft.com/office/drawing/2014/main" id="{55CD0369-990A-42D1-A3C3-5385B4FE2276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V="1">
            <a:off x="3111500" y="5387975"/>
            <a:ext cx="0" cy="285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1" name="Straight Connector 960">
            <a:extLst>
              <a:ext uri="{FF2B5EF4-FFF2-40B4-BE49-F238E27FC236}">
                <a16:creationId xmlns="" xmlns:a16="http://schemas.microsoft.com/office/drawing/2014/main" id="{09768B4D-FCBE-4AE4-B889-5D74A0F831AC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V="1">
            <a:off x="10891838" y="2744788"/>
            <a:ext cx="0" cy="3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1" name="Straight Connector 820">
            <a:extLst>
              <a:ext uri="{FF2B5EF4-FFF2-40B4-BE49-F238E27FC236}">
                <a16:creationId xmlns="" xmlns:a16="http://schemas.microsoft.com/office/drawing/2014/main" id="{E916E07A-7AEA-4742-80A7-FA69557E417C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V="1">
            <a:off x="6315075" y="3829050"/>
            <a:ext cx="0" cy="301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2" name="Straight Connector 901">
            <a:extLst>
              <a:ext uri="{FF2B5EF4-FFF2-40B4-BE49-F238E27FC236}">
                <a16:creationId xmlns="" xmlns:a16="http://schemas.microsoft.com/office/drawing/2014/main" id="{40EA4213-67D4-4C65-AAC8-7395278141D7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V="1">
            <a:off x="8996363" y="2957513"/>
            <a:ext cx="0" cy="127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3" name="Straight Connector 902">
            <a:extLst>
              <a:ext uri="{FF2B5EF4-FFF2-40B4-BE49-F238E27FC236}">
                <a16:creationId xmlns="" xmlns:a16="http://schemas.microsoft.com/office/drawing/2014/main" id="{933996D2-2A96-4577-B4C7-8FB4FB8CFC31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V="1">
            <a:off x="8996363" y="2957513"/>
            <a:ext cx="0" cy="127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3" name="Straight Connector 952">
            <a:extLst>
              <a:ext uri="{FF2B5EF4-FFF2-40B4-BE49-F238E27FC236}">
                <a16:creationId xmlns="" xmlns:a16="http://schemas.microsoft.com/office/drawing/2014/main" id="{D0CF1BA9-7C23-432B-8528-82912F76EB19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V="1">
            <a:off x="10631488" y="2759075"/>
            <a:ext cx="0" cy="47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5" name="Straight Connector 904">
            <a:extLst>
              <a:ext uri="{FF2B5EF4-FFF2-40B4-BE49-F238E27FC236}">
                <a16:creationId xmlns="" xmlns:a16="http://schemas.microsoft.com/office/drawing/2014/main" id="{3E8A72CB-5100-4D6C-A80C-4BD7919BEDB9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 flipV="1">
            <a:off x="9061450" y="2944813"/>
            <a:ext cx="0" cy="127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1" name="Straight Connector 910">
            <a:extLst>
              <a:ext uri="{FF2B5EF4-FFF2-40B4-BE49-F238E27FC236}">
                <a16:creationId xmlns="" xmlns:a16="http://schemas.microsoft.com/office/drawing/2014/main" id="{3FDB7A5E-715D-46D0-935F-6CD591EA0A33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 flipV="1">
            <a:off x="9258300" y="2911475"/>
            <a:ext cx="0" cy="111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6" name="Straight Connector 905">
            <a:extLst>
              <a:ext uri="{FF2B5EF4-FFF2-40B4-BE49-F238E27FC236}">
                <a16:creationId xmlns="" xmlns:a16="http://schemas.microsoft.com/office/drawing/2014/main" id="{FC09C028-B3DD-4EB1-937E-C50E46AE681C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 flipV="1">
            <a:off x="9126538" y="2933700"/>
            <a:ext cx="0" cy="111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4" name="Straight Connector 903">
            <a:extLst>
              <a:ext uri="{FF2B5EF4-FFF2-40B4-BE49-F238E27FC236}">
                <a16:creationId xmlns="" xmlns:a16="http://schemas.microsoft.com/office/drawing/2014/main" id="{F49ED73C-A97A-4AA1-AF9E-155B9DD49425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 flipV="1">
            <a:off x="9061450" y="2944813"/>
            <a:ext cx="0" cy="127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8" name="Straight Connector 907">
            <a:extLst>
              <a:ext uri="{FF2B5EF4-FFF2-40B4-BE49-F238E27FC236}">
                <a16:creationId xmlns="" xmlns:a16="http://schemas.microsoft.com/office/drawing/2014/main" id="{C33FE44E-2190-4D2A-8021-31E59B14721C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 flipV="1">
            <a:off x="9191625" y="2922588"/>
            <a:ext cx="0" cy="111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0" name="Straight Connector 819">
            <a:extLst>
              <a:ext uri="{FF2B5EF4-FFF2-40B4-BE49-F238E27FC236}">
                <a16:creationId xmlns="" xmlns:a16="http://schemas.microsoft.com/office/drawing/2014/main" id="{AA8025CB-2806-4FB7-816B-CA13A24EE20E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 flipV="1">
            <a:off x="6315075" y="3829050"/>
            <a:ext cx="0" cy="301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0" name="Straight Connector 909">
            <a:extLst>
              <a:ext uri="{FF2B5EF4-FFF2-40B4-BE49-F238E27FC236}">
                <a16:creationId xmlns="" xmlns:a16="http://schemas.microsoft.com/office/drawing/2014/main" id="{26A2B366-24F0-4AC3-9C55-D3B0EB58BBFA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 flipV="1">
            <a:off x="9258300" y="2911475"/>
            <a:ext cx="0" cy="111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0" name="Straight Connector 959">
            <a:extLst>
              <a:ext uri="{FF2B5EF4-FFF2-40B4-BE49-F238E27FC236}">
                <a16:creationId xmlns="" xmlns:a16="http://schemas.microsoft.com/office/drawing/2014/main" id="{141FAF33-1727-46CB-85D2-82C59DB20589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 flipV="1">
            <a:off x="10891838" y="2744788"/>
            <a:ext cx="0" cy="3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2" name="Straight Connector 911">
            <a:extLst>
              <a:ext uri="{FF2B5EF4-FFF2-40B4-BE49-F238E27FC236}">
                <a16:creationId xmlns="" xmlns:a16="http://schemas.microsoft.com/office/drawing/2014/main" id="{F5E4F5B4-7979-43EA-912A-694FADEA483B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 flipV="1">
            <a:off x="9323388" y="2900363"/>
            <a:ext cx="0" cy="111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3" name="Straight Connector 912">
            <a:extLst>
              <a:ext uri="{FF2B5EF4-FFF2-40B4-BE49-F238E27FC236}">
                <a16:creationId xmlns="" xmlns:a16="http://schemas.microsoft.com/office/drawing/2014/main" id="{617E60FD-DB84-4EEA-A678-343E5A290A70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 flipV="1">
            <a:off x="9323388" y="2900363"/>
            <a:ext cx="0" cy="111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5" name="Straight Connector 914">
            <a:extLst>
              <a:ext uri="{FF2B5EF4-FFF2-40B4-BE49-F238E27FC236}">
                <a16:creationId xmlns="" xmlns:a16="http://schemas.microsoft.com/office/drawing/2014/main" id="{96404009-A8F1-4F85-BF15-9A22624E6B25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 flipV="1">
            <a:off x="9388475" y="2890838"/>
            <a:ext cx="0" cy="9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6" name="Straight Connector 915">
            <a:extLst>
              <a:ext uri="{FF2B5EF4-FFF2-40B4-BE49-F238E27FC236}">
                <a16:creationId xmlns="" xmlns:a16="http://schemas.microsoft.com/office/drawing/2014/main" id="{432D3703-E468-4AC9-87C2-C8A3548CEBB6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 flipV="1">
            <a:off x="9453563" y="2881313"/>
            <a:ext cx="0" cy="9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7" name="Straight Connector 946">
            <a:extLst>
              <a:ext uri="{FF2B5EF4-FFF2-40B4-BE49-F238E27FC236}">
                <a16:creationId xmlns="" xmlns:a16="http://schemas.microsoft.com/office/drawing/2014/main" id="{B4F5551A-DF56-49DB-816A-D035452C1880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 flipV="1">
            <a:off x="10434638" y="2773363"/>
            <a:ext cx="0" cy="47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9" name="Straight Connector 938">
            <a:extLst>
              <a:ext uri="{FF2B5EF4-FFF2-40B4-BE49-F238E27FC236}">
                <a16:creationId xmlns="" xmlns:a16="http://schemas.microsoft.com/office/drawing/2014/main" id="{0E943006-06A6-495F-AB76-E10399A982D1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 flipV="1">
            <a:off x="10172700" y="2794000"/>
            <a:ext cx="0" cy="63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7" name="Straight Connector 756">
            <a:extLst>
              <a:ext uri="{FF2B5EF4-FFF2-40B4-BE49-F238E27FC236}">
                <a16:creationId xmlns="" xmlns:a16="http://schemas.microsoft.com/office/drawing/2014/main" id="{C955A2D1-5FC3-4D1F-9E5F-E9A00BBC5359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 flipV="1">
            <a:off x="2390775" y="5694363"/>
            <a:ext cx="0" cy="222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1" name="Straight Connector 790">
            <a:extLst>
              <a:ext uri="{FF2B5EF4-FFF2-40B4-BE49-F238E27FC236}">
                <a16:creationId xmlns="" xmlns:a16="http://schemas.microsoft.com/office/drawing/2014/main" id="{88E89A5C-A59E-42DA-8610-FE59B6A8D72C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 flipV="1">
            <a:off x="4614863" y="4651375"/>
            <a:ext cx="0" cy="31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7" name="Straight Connector 916">
            <a:extLst>
              <a:ext uri="{FF2B5EF4-FFF2-40B4-BE49-F238E27FC236}">
                <a16:creationId xmlns="" xmlns:a16="http://schemas.microsoft.com/office/drawing/2014/main" id="{A6A16C8E-A833-4925-B5F6-37C0DB62EE98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 flipV="1">
            <a:off x="9453563" y="2881313"/>
            <a:ext cx="0" cy="9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4" name="Straight Connector 923">
            <a:extLst>
              <a:ext uri="{FF2B5EF4-FFF2-40B4-BE49-F238E27FC236}">
                <a16:creationId xmlns="" xmlns:a16="http://schemas.microsoft.com/office/drawing/2014/main" id="{BA869FE6-B18E-49FD-84F9-66D51F765049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 flipV="1">
            <a:off x="9715500" y="2844800"/>
            <a:ext cx="0" cy="79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8" name="Straight Connector 917">
            <a:extLst>
              <a:ext uri="{FF2B5EF4-FFF2-40B4-BE49-F238E27FC236}">
                <a16:creationId xmlns="" xmlns:a16="http://schemas.microsoft.com/office/drawing/2014/main" id="{55842503-120D-4694-B4D5-E90F92E28AAA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 flipV="1">
            <a:off x="9518650" y="2871788"/>
            <a:ext cx="0" cy="9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5" name="Straight Connector 754">
            <a:extLst>
              <a:ext uri="{FF2B5EF4-FFF2-40B4-BE49-F238E27FC236}">
                <a16:creationId xmlns="" xmlns:a16="http://schemas.microsoft.com/office/drawing/2014/main" id="{5B7EAA33-CE42-4999-8EE9-E611BC83E649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 flipV="1">
            <a:off x="2260600" y="5740400"/>
            <a:ext cx="0" cy="222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9" name="Straight Connector 948">
            <a:extLst>
              <a:ext uri="{FF2B5EF4-FFF2-40B4-BE49-F238E27FC236}">
                <a16:creationId xmlns="" xmlns:a16="http://schemas.microsoft.com/office/drawing/2014/main" id="{6DABE7AE-A737-4E8A-8E37-0060FE346359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 flipV="1">
            <a:off x="10499725" y="2767013"/>
            <a:ext cx="0" cy="63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9" name="Straight Connector 918">
            <a:extLst>
              <a:ext uri="{FF2B5EF4-FFF2-40B4-BE49-F238E27FC236}">
                <a16:creationId xmlns="" xmlns:a16="http://schemas.microsoft.com/office/drawing/2014/main" id="{AE3C974E-11BC-46B9-B931-84F271CEFABC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 flipV="1">
            <a:off x="9518650" y="2871788"/>
            <a:ext cx="0" cy="9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1" name="Straight Connector 920">
            <a:extLst>
              <a:ext uri="{FF2B5EF4-FFF2-40B4-BE49-F238E27FC236}">
                <a16:creationId xmlns="" xmlns:a16="http://schemas.microsoft.com/office/drawing/2014/main" id="{6DE5EC46-A3B4-41BD-9126-787FA3FC44F9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 flipV="1">
            <a:off x="9585325" y="2862263"/>
            <a:ext cx="0" cy="9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8" name="Straight Connector 957">
            <a:extLst>
              <a:ext uri="{FF2B5EF4-FFF2-40B4-BE49-F238E27FC236}">
                <a16:creationId xmlns="" xmlns:a16="http://schemas.microsoft.com/office/drawing/2014/main" id="{392C8BB3-887B-45F3-A0C5-9FFBBC55507A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 flipV="1">
            <a:off x="10826750" y="2747963"/>
            <a:ext cx="0" cy="3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2" name="Straight Connector 921">
            <a:extLst>
              <a:ext uri="{FF2B5EF4-FFF2-40B4-BE49-F238E27FC236}">
                <a16:creationId xmlns="" xmlns:a16="http://schemas.microsoft.com/office/drawing/2014/main" id="{AA669BCB-0B5A-4411-8599-034C831C9F71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 flipV="1">
            <a:off x="9650413" y="2852738"/>
            <a:ext cx="0" cy="9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1" name="Straight Connector 770">
            <a:extLst>
              <a:ext uri="{FF2B5EF4-FFF2-40B4-BE49-F238E27FC236}">
                <a16:creationId xmlns="" xmlns:a16="http://schemas.microsoft.com/office/drawing/2014/main" id="{15BBAC97-6085-40FB-91F0-554EFA589C17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 flipV="1">
            <a:off x="3306763" y="5300663"/>
            <a:ext cx="0" cy="285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6" name="Straight Connector 925">
            <a:extLst>
              <a:ext uri="{FF2B5EF4-FFF2-40B4-BE49-F238E27FC236}">
                <a16:creationId xmlns="" xmlns:a16="http://schemas.microsoft.com/office/drawing/2014/main" id="{3AEACC17-2E36-46F8-91E5-5B8C78A35C7A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 flipV="1">
            <a:off x="9780588" y="2836863"/>
            <a:ext cx="0" cy="79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7" name="Straight Connector 966">
            <a:extLst>
              <a:ext uri="{FF2B5EF4-FFF2-40B4-BE49-F238E27FC236}">
                <a16:creationId xmlns="" xmlns:a16="http://schemas.microsoft.com/office/drawing/2014/main" id="{4E4E1306-198B-4D37-8A20-28D26AEC7154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 flipV="1">
            <a:off x="11088688" y="2736850"/>
            <a:ext cx="0" cy="15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7" name="Straight Connector 746">
            <a:extLst>
              <a:ext uri="{FF2B5EF4-FFF2-40B4-BE49-F238E27FC236}">
                <a16:creationId xmlns="" xmlns:a16="http://schemas.microsoft.com/office/drawing/2014/main" id="{6543DF88-2055-4C5F-A1FF-962F2E1E3D1C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 flipV="1">
            <a:off x="1738313" y="5900738"/>
            <a:ext cx="0" cy="174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0" name="Straight Connector 759">
            <a:extLst>
              <a:ext uri="{FF2B5EF4-FFF2-40B4-BE49-F238E27FC236}">
                <a16:creationId xmlns="" xmlns:a16="http://schemas.microsoft.com/office/drawing/2014/main" id="{D65803F9-2C5C-40A0-81C0-C3F762103F26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 flipV="1">
            <a:off x="2587625" y="5618163"/>
            <a:ext cx="0" cy="254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8" name="Straight Connector 927">
            <a:extLst>
              <a:ext uri="{FF2B5EF4-FFF2-40B4-BE49-F238E27FC236}">
                <a16:creationId xmlns="" xmlns:a16="http://schemas.microsoft.com/office/drawing/2014/main" id="{F5599FDB-76CB-4780-AEBA-A32AE7E28B53}"/>
              </a:ext>
            </a:extLst>
          </p:cNvPr>
          <p:cNvCxnSpPr/>
          <p:nvPr>
            <p:custDataLst>
              <p:tags r:id="rId40"/>
            </p:custDataLst>
          </p:nvPr>
        </p:nvCxnSpPr>
        <p:spPr bwMode="auto">
          <a:xfrm flipV="1">
            <a:off x="9845675" y="2828925"/>
            <a:ext cx="0" cy="79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9" name="Straight Connector 928">
            <a:extLst>
              <a:ext uri="{FF2B5EF4-FFF2-40B4-BE49-F238E27FC236}">
                <a16:creationId xmlns="" xmlns:a16="http://schemas.microsoft.com/office/drawing/2014/main" id="{F52B1CB9-AD9E-4D0D-A11D-37CBD4278F88}"/>
              </a:ext>
            </a:extLst>
          </p:cNvPr>
          <p:cNvCxnSpPr/>
          <p:nvPr>
            <p:custDataLst>
              <p:tags r:id="rId41"/>
            </p:custDataLst>
          </p:nvPr>
        </p:nvCxnSpPr>
        <p:spPr bwMode="auto">
          <a:xfrm flipV="1">
            <a:off x="9845675" y="2828925"/>
            <a:ext cx="0" cy="79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4" name="Straight Connector 843">
            <a:extLst>
              <a:ext uri="{FF2B5EF4-FFF2-40B4-BE49-F238E27FC236}">
                <a16:creationId xmlns="" xmlns:a16="http://schemas.microsoft.com/office/drawing/2014/main" id="{A186BA2B-467D-44AA-B2B4-797A53A6F120}"/>
              </a:ext>
            </a:extLst>
          </p:cNvPr>
          <p:cNvCxnSpPr/>
          <p:nvPr>
            <p:custDataLst>
              <p:tags r:id="rId42"/>
            </p:custDataLst>
          </p:nvPr>
        </p:nvCxnSpPr>
        <p:spPr bwMode="auto">
          <a:xfrm flipV="1">
            <a:off x="7099300" y="3498850"/>
            <a:ext cx="0" cy="254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0" name="Straight Connector 929">
            <a:extLst>
              <a:ext uri="{FF2B5EF4-FFF2-40B4-BE49-F238E27FC236}">
                <a16:creationId xmlns="" xmlns:a16="http://schemas.microsoft.com/office/drawing/2014/main" id="{4F41F733-8AC4-48A2-8404-A80D45A4B601}"/>
              </a:ext>
            </a:extLst>
          </p:cNvPr>
          <p:cNvCxnSpPr/>
          <p:nvPr>
            <p:custDataLst>
              <p:tags r:id="rId43"/>
            </p:custDataLst>
          </p:nvPr>
        </p:nvCxnSpPr>
        <p:spPr bwMode="auto">
          <a:xfrm flipV="1">
            <a:off x="9912350" y="2820988"/>
            <a:ext cx="0" cy="79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1" name="Straight Connector 930">
            <a:extLst>
              <a:ext uri="{FF2B5EF4-FFF2-40B4-BE49-F238E27FC236}">
                <a16:creationId xmlns="" xmlns:a16="http://schemas.microsoft.com/office/drawing/2014/main" id="{C8FF0EE9-4D21-4B11-BEEF-4ACA41853F7F}"/>
              </a:ext>
            </a:extLst>
          </p:cNvPr>
          <p:cNvCxnSpPr/>
          <p:nvPr>
            <p:custDataLst>
              <p:tags r:id="rId44"/>
            </p:custDataLst>
          </p:nvPr>
        </p:nvCxnSpPr>
        <p:spPr bwMode="auto">
          <a:xfrm flipV="1">
            <a:off x="9912350" y="2820988"/>
            <a:ext cx="0" cy="79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6" name="Straight Connector 935">
            <a:extLst>
              <a:ext uri="{FF2B5EF4-FFF2-40B4-BE49-F238E27FC236}">
                <a16:creationId xmlns="" xmlns:a16="http://schemas.microsoft.com/office/drawing/2014/main" id="{8C53ECD1-C618-4F0E-972D-B9FC78161093}"/>
              </a:ext>
            </a:extLst>
          </p:cNvPr>
          <p:cNvCxnSpPr/>
          <p:nvPr>
            <p:custDataLst>
              <p:tags r:id="rId45"/>
            </p:custDataLst>
          </p:nvPr>
        </p:nvCxnSpPr>
        <p:spPr bwMode="auto">
          <a:xfrm flipV="1">
            <a:off x="10107613" y="2800350"/>
            <a:ext cx="0" cy="63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1" name="Straight Connector 940">
            <a:extLst>
              <a:ext uri="{FF2B5EF4-FFF2-40B4-BE49-F238E27FC236}">
                <a16:creationId xmlns="" xmlns:a16="http://schemas.microsoft.com/office/drawing/2014/main" id="{DB292FCF-0C8A-437F-ACE5-6E21A033D0DF}"/>
              </a:ext>
            </a:extLst>
          </p:cNvPr>
          <p:cNvCxnSpPr/>
          <p:nvPr>
            <p:custDataLst>
              <p:tags r:id="rId46"/>
            </p:custDataLst>
          </p:nvPr>
        </p:nvCxnSpPr>
        <p:spPr bwMode="auto">
          <a:xfrm flipV="1">
            <a:off x="10239375" y="2789238"/>
            <a:ext cx="0" cy="47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2" name="Straight Connector 941">
            <a:extLst>
              <a:ext uri="{FF2B5EF4-FFF2-40B4-BE49-F238E27FC236}">
                <a16:creationId xmlns="" xmlns:a16="http://schemas.microsoft.com/office/drawing/2014/main" id="{A68916A1-AB2A-4420-8066-73D1DEBEA0D8}"/>
              </a:ext>
            </a:extLst>
          </p:cNvPr>
          <p:cNvCxnSpPr/>
          <p:nvPr>
            <p:custDataLst>
              <p:tags r:id="rId47"/>
            </p:custDataLst>
          </p:nvPr>
        </p:nvCxnSpPr>
        <p:spPr bwMode="auto">
          <a:xfrm flipV="1">
            <a:off x="10304463" y="2782888"/>
            <a:ext cx="0" cy="63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3" name="Straight Connector 942">
            <a:extLst>
              <a:ext uri="{FF2B5EF4-FFF2-40B4-BE49-F238E27FC236}">
                <a16:creationId xmlns="" xmlns:a16="http://schemas.microsoft.com/office/drawing/2014/main" id="{CEFB29B4-09DC-4B9F-9BEB-1231FA944421}"/>
              </a:ext>
            </a:extLst>
          </p:cNvPr>
          <p:cNvCxnSpPr/>
          <p:nvPr>
            <p:custDataLst>
              <p:tags r:id="rId48"/>
            </p:custDataLst>
          </p:nvPr>
        </p:nvCxnSpPr>
        <p:spPr bwMode="auto">
          <a:xfrm flipV="1">
            <a:off x="10304463" y="2782888"/>
            <a:ext cx="0" cy="63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0" name="Straight Connector 919">
            <a:extLst>
              <a:ext uri="{FF2B5EF4-FFF2-40B4-BE49-F238E27FC236}">
                <a16:creationId xmlns="" xmlns:a16="http://schemas.microsoft.com/office/drawing/2014/main" id="{A72F45F2-1A47-4AB4-B71D-1E1EDCA04467}"/>
              </a:ext>
            </a:extLst>
          </p:cNvPr>
          <p:cNvCxnSpPr/>
          <p:nvPr>
            <p:custDataLst>
              <p:tags r:id="rId49"/>
            </p:custDataLst>
          </p:nvPr>
        </p:nvCxnSpPr>
        <p:spPr bwMode="auto">
          <a:xfrm flipV="1">
            <a:off x="9585325" y="2862263"/>
            <a:ext cx="0" cy="9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4" name="Straight Connector 943">
            <a:extLst>
              <a:ext uri="{FF2B5EF4-FFF2-40B4-BE49-F238E27FC236}">
                <a16:creationId xmlns="" xmlns:a16="http://schemas.microsoft.com/office/drawing/2014/main" id="{1CF272E5-FDF4-4501-B8B1-D1D6C506C01E}"/>
              </a:ext>
            </a:extLst>
          </p:cNvPr>
          <p:cNvCxnSpPr/>
          <p:nvPr>
            <p:custDataLst>
              <p:tags r:id="rId50"/>
            </p:custDataLst>
          </p:nvPr>
        </p:nvCxnSpPr>
        <p:spPr bwMode="auto">
          <a:xfrm flipV="1">
            <a:off x="10369550" y="2778125"/>
            <a:ext cx="0" cy="47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5" name="Straight Connector 944">
            <a:extLst>
              <a:ext uri="{FF2B5EF4-FFF2-40B4-BE49-F238E27FC236}">
                <a16:creationId xmlns="" xmlns:a16="http://schemas.microsoft.com/office/drawing/2014/main" id="{1D75552B-AAD7-48EB-AE99-E751FAD1D9E6}"/>
              </a:ext>
            </a:extLst>
          </p:cNvPr>
          <p:cNvCxnSpPr/>
          <p:nvPr>
            <p:custDataLst>
              <p:tags r:id="rId51"/>
            </p:custDataLst>
          </p:nvPr>
        </p:nvCxnSpPr>
        <p:spPr bwMode="auto">
          <a:xfrm flipV="1">
            <a:off x="10369550" y="2778125"/>
            <a:ext cx="0" cy="47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8" name="Straight Connector 947">
            <a:extLst>
              <a:ext uri="{FF2B5EF4-FFF2-40B4-BE49-F238E27FC236}">
                <a16:creationId xmlns="" xmlns:a16="http://schemas.microsoft.com/office/drawing/2014/main" id="{CEBE738B-4E84-43C0-AC4A-C6654F073E42}"/>
              </a:ext>
            </a:extLst>
          </p:cNvPr>
          <p:cNvCxnSpPr/>
          <p:nvPr>
            <p:custDataLst>
              <p:tags r:id="rId52"/>
            </p:custDataLst>
          </p:nvPr>
        </p:nvCxnSpPr>
        <p:spPr bwMode="auto">
          <a:xfrm flipV="1">
            <a:off x="10499725" y="2767013"/>
            <a:ext cx="0" cy="63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3" name="Straight Connector 842">
            <a:extLst>
              <a:ext uri="{FF2B5EF4-FFF2-40B4-BE49-F238E27FC236}">
                <a16:creationId xmlns="" xmlns:a16="http://schemas.microsoft.com/office/drawing/2014/main" id="{A25CFD41-70E6-42F8-98DA-722441006FA8}"/>
              </a:ext>
            </a:extLst>
          </p:cNvPr>
          <p:cNvCxnSpPr/>
          <p:nvPr>
            <p:custDataLst>
              <p:tags r:id="rId53"/>
            </p:custDataLst>
          </p:nvPr>
        </p:nvCxnSpPr>
        <p:spPr bwMode="auto">
          <a:xfrm flipV="1">
            <a:off x="7034213" y="3524250"/>
            <a:ext cx="0" cy="254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6" name="Straight Connector 755">
            <a:extLst>
              <a:ext uri="{FF2B5EF4-FFF2-40B4-BE49-F238E27FC236}">
                <a16:creationId xmlns="" xmlns:a16="http://schemas.microsoft.com/office/drawing/2014/main" id="{ED1A9BC3-3133-46A7-BAEE-99D93AB9FB49}"/>
              </a:ext>
            </a:extLst>
          </p:cNvPr>
          <p:cNvCxnSpPr/>
          <p:nvPr>
            <p:custDataLst>
              <p:tags r:id="rId54"/>
            </p:custDataLst>
          </p:nvPr>
        </p:nvCxnSpPr>
        <p:spPr bwMode="auto">
          <a:xfrm flipV="1">
            <a:off x="2325688" y="5716588"/>
            <a:ext cx="0" cy="23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6" name="Straight Connector 945">
            <a:extLst>
              <a:ext uri="{FF2B5EF4-FFF2-40B4-BE49-F238E27FC236}">
                <a16:creationId xmlns="" xmlns:a16="http://schemas.microsoft.com/office/drawing/2014/main" id="{5789D255-2553-4B58-A437-094E3FB2FDE6}"/>
              </a:ext>
            </a:extLst>
          </p:cNvPr>
          <p:cNvCxnSpPr/>
          <p:nvPr>
            <p:custDataLst>
              <p:tags r:id="rId55"/>
            </p:custDataLst>
          </p:nvPr>
        </p:nvCxnSpPr>
        <p:spPr bwMode="auto">
          <a:xfrm flipV="1">
            <a:off x="10434638" y="2773363"/>
            <a:ext cx="0" cy="47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2" name="Straight Connector 811">
            <a:extLst>
              <a:ext uri="{FF2B5EF4-FFF2-40B4-BE49-F238E27FC236}">
                <a16:creationId xmlns="" xmlns:a16="http://schemas.microsoft.com/office/drawing/2014/main" id="{FBB98694-38E5-457E-A48F-63C6B434E1AB}"/>
              </a:ext>
            </a:extLst>
          </p:cNvPr>
          <p:cNvCxnSpPr/>
          <p:nvPr>
            <p:custDataLst>
              <p:tags r:id="rId56"/>
            </p:custDataLst>
          </p:nvPr>
        </p:nvCxnSpPr>
        <p:spPr bwMode="auto">
          <a:xfrm flipV="1">
            <a:off x="5988050" y="3984625"/>
            <a:ext cx="0" cy="31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0" name="Straight Connector 949">
            <a:extLst>
              <a:ext uri="{FF2B5EF4-FFF2-40B4-BE49-F238E27FC236}">
                <a16:creationId xmlns="" xmlns:a16="http://schemas.microsoft.com/office/drawing/2014/main" id="{76269CC1-18CF-43A0-8401-D1FA20C958B8}"/>
              </a:ext>
            </a:extLst>
          </p:cNvPr>
          <p:cNvCxnSpPr/>
          <p:nvPr>
            <p:custDataLst>
              <p:tags r:id="rId57"/>
            </p:custDataLst>
          </p:nvPr>
        </p:nvCxnSpPr>
        <p:spPr bwMode="auto">
          <a:xfrm flipV="1">
            <a:off x="10566400" y="2763838"/>
            <a:ext cx="0" cy="3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0" name="Straight Connector 789">
            <a:extLst>
              <a:ext uri="{FF2B5EF4-FFF2-40B4-BE49-F238E27FC236}">
                <a16:creationId xmlns="" xmlns:a16="http://schemas.microsoft.com/office/drawing/2014/main" id="{3C017F2A-0559-47DF-A29D-2C18F35E1B61}"/>
              </a:ext>
            </a:extLst>
          </p:cNvPr>
          <p:cNvCxnSpPr/>
          <p:nvPr>
            <p:custDataLst>
              <p:tags r:id="rId58"/>
            </p:custDataLst>
          </p:nvPr>
        </p:nvCxnSpPr>
        <p:spPr bwMode="auto">
          <a:xfrm flipV="1">
            <a:off x="4549775" y="4683125"/>
            <a:ext cx="0" cy="301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2" name="Straight Connector 761">
            <a:extLst>
              <a:ext uri="{FF2B5EF4-FFF2-40B4-BE49-F238E27FC236}">
                <a16:creationId xmlns="" xmlns:a16="http://schemas.microsoft.com/office/drawing/2014/main" id="{5B4AC732-C584-4FAE-98D5-85F712C02FD7}"/>
              </a:ext>
            </a:extLst>
          </p:cNvPr>
          <p:cNvCxnSpPr/>
          <p:nvPr>
            <p:custDataLst>
              <p:tags r:id="rId59"/>
            </p:custDataLst>
          </p:nvPr>
        </p:nvCxnSpPr>
        <p:spPr bwMode="auto">
          <a:xfrm flipV="1">
            <a:off x="2717800" y="5562600"/>
            <a:ext cx="0" cy="269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3" name="Straight Connector 862">
            <a:extLst>
              <a:ext uri="{FF2B5EF4-FFF2-40B4-BE49-F238E27FC236}">
                <a16:creationId xmlns="" xmlns:a16="http://schemas.microsoft.com/office/drawing/2014/main" id="{B97F4A90-FD29-4301-86F6-36CE2DF55626}"/>
              </a:ext>
            </a:extLst>
          </p:cNvPr>
          <p:cNvCxnSpPr/>
          <p:nvPr>
            <p:custDataLst>
              <p:tags r:id="rId60"/>
            </p:custDataLst>
          </p:nvPr>
        </p:nvCxnSpPr>
        <p:spPr bwMode="auto">
          <a:xfrm flipV="1">
            <a:off x="7688263" y="3289300"/>
            <a:ext cx="0" cy="222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1" name="Straight Connector 950">
            <a:extLst>
              <a:ext uri="{FF2B5EF4-FFF2-40B4-BE49-F238E27FC236}">
                <a16:creationId xmlns="" xmlns:a16="http://schemas.microsoft.com/office/drawing/2014/main" id="{F2CE4B18-C618-4582-B211-009B454EF37C}"/>
              </a:ext>
            </a:extLst>
          </p:cNvPr>
          <p:cNvCxnSpPr/>
          <p:nvPr>
            <p:custDataLst>
              <p:tags r:id="rId61"/>
            </p:custDataLst>
          </p:nvPr>
        </p:nvCxnSpPr>
        <p:spPr bwMode="auto">
          <a:xfrm flipV="1">
            <a:off x="10566400" y="2763838"/>
            <a:ext cx="0" cy="3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1" name="Straight Connector 880">
            <a:extLst>
              <a:ext uri="{FF2B5EF4-FFF2-40B4-BE49-F238E27FC236}">
                <a16:creationId xmlns="" xmlns:a16="http://schemas.microsoft.com/office/drawing/2014/main" id="{4E31C440-4C48-4BF1-AF97-CF0EFAEC4D37}"/>
              </a:ext>
            </a:extLst>
          </p:cNvPr>
          <p:cNvCxnSpPr/>
          <p:nvPr>
            <p:custDataLst>
              <p:tags r:id="rId62"/>
            </p:custDataLst>
          </p:nvPr>
        </p:nvCxnSpPr>
        <p:spPr bwMode="auto">
          <a:xfrm flipV="1">
            <a:off x="8277225" y="3117850"/>
            <a:ext cx="0" cy="174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2" name="Straight Connector 951">
            <a:extLst>
              <a:ext uri="{FF2B5EF4-FFF2-40B4-BE49-F238E27FC236}">
                <a16:creationId xmlns="" xmlns:a16="http://schemas.microsoft.com/office/drawing/2014/main" id="{0BE94744-FAA9-4C67-89BF-73E2BA0B4588}"/>
              </a:ext>
            </a:extLst>
          </p:cNvPr>
          <p:cNvCxnSpPr/>
          <p:nvPr>
            <p:custDataLst>
              <p:tags r:id="rId63"/>
            </p:custDataLst>
          </p:nvPr>
        </p:nvCxnSpPr>
        <p:spPr bwMode="auto">
          <a:xfrm flipV="1">
            <a:off x="10631488" y="2759075"/>
            <a:ext cx="0" cy="47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0" name="Straight Connector 939">
            <a:extLst>
              <a:ext uri="{FF2B5EF4-FFF2-40B4-BE49-F238E27FC236}">
                <a16:creationId xmlns="" xmlns:a16="http://schemas.microsoft.com/office/drawing/2014/main" id="{EBDE445B-75AA-498B-B0D4-AC1BB5DA5595}"/>
              </a:ext>
            </a:extLst>
          </p:cNvPr>
          <p:cNvCxnSpPr/>
          <p:nvPr>
            <p:custDataLst>
              <p:tags r:id="rId64"/>
            </p:custDataLst>
          </p:nvPr>
        </p:nvCxnSpPr>
        <p:spPr bwMode="auto">
          <a:xfrm flipV="1">
            <a:off x="10239375" y="2789238"/>
            <a:ext cx="0" cy="47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6" name="Straight Connector 745">
            <a:extLst>
              <a:ext uri="{FF2B5EF4-FFF2-40B4-BE49-F238E27FC236}">
                <a16:creationId xmlns="" xmlns:a16="http://schemas.microsoft.com/office/drawing/2014/main" id="{C8F17623-FDCB-49AE-A299-27407319192F}"/>
              </a:ext>
            </a:extLst>
          </p:cNvPr>
          <p:cNvCxnSpPr/>
          <p:nvPr>
            <p:custDataLst>
              <p:tags r:id="rId65"/>
            </p:custDataLst>
          </p:nvPr>
        </p:nvCxnSpPr>
        <p:spPr bwMode="auto">
          <a:xfrm flipV="1">
            <a:off x="1671638" y="5918200"/>
            <a:ext cx="0" cy="174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5" name="Straight Connector 954">
            <a:extLst>
              <a:ext uri="{FF2B5EF4-FFF2-40B4-BE49-F238E27FC236}">
                <a16:creationId xmlns="" xmlns:a16="http://schemas.microsoft.com/office/drawing/2014/main" id="{6B0BEE9A-8BBA-47BB-9DFD-14B3D42723E6}"/>
              </a:ext>
            </a:extLst>
          </p:cNvPr>
          <p:cNvCxnSpPr/>
          <p:nvPr>
            <p:custDataLst>
              <p:tags r:id="rId66"/>
            </p:custDataLst>
          </p:nvPr>
        </p:nvCxnSpPr>
        <p:spPr bwMode="auto">
          <a:xfrm flipV="1">
            <a:off x="10696575" y="2754313"/>
            <a:ext cx="0" cy="47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2" name="Straight Connector 931">
            <a:extLst>
              <a:ext uri="{FF2B5EF4-FFF2-40B4-BE49-F238E27FC236}">
                <a16:creationId xmlns="" xmlns:a16="http://schemas.microsoft.com/office/drawing/2014/main" id="{E602056F-85D5-495A-B693-A839B1FCB190}"/>
              </a:ext>
            </a:extLst>
          </p:cNvPr>
          <p:cNvCxnSpPr/>
          <p:nvPr>
            <p:custDataLst>
              <p:tags r:id="rId67"/>
            </p:custDataLst>
          </p:nvPr>
        </p:nvCxnSpPr>
        <p:spPr bwMode="auto">
          <a:xfrm flipV="1">
            <a:off x="9977438" y="2814638"/>
            <a:ext cx="0" cy="63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5" name="Straight Connector 774">
            <a:extLst>
              <a:ext uri="{FF2B5EF4-FFF2-40B4-BE49-F238E27FC236}">
                <a16:creationId xmlns="" xmlns:a16="http://schemas.microsoft.com/office/drawing/2014/main" id="{54D7CE52-6474-4832-BEF1-2AC631875FF1}"/>
              </a:ext>
            </a:extLst>
          </p:cNvPr>
          <p:cNvCxnSpPr/>
          <p:nvPr>
            <p:custDataLst>
              <p:tags r:id="rId68"/>
            </p:custDataLst>
          </p:nvPr>
        </p:nvCxnSpPr>
        <p:spPr bwMode="auto">
          <a:xfrm flipV="1">
            <a:off x="3568700" y="5181600"/>
            <a:ext cx="0" cy="301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6" name="Straight Connector 955">
            <a:extLst>
              <a:ext uri="{FF2B5EF4-FFF2-40B4-BE49-F238E27FC236}">
                <a16:creationId xmlns="" xmlns:a16="http://schemas.microsoft.com/office/drawing/2014/main" id="{F4E799E1-8C3D-4892-BA71-25F21A5DC38E}"/>
              </a:ext>
            </a:extLst>
          </p:cNvPr>
          <p:cNvCxnSpPr/>
          <p:nvPr>
            <p:custDataLst>
              <p:tags r:id="rId69"/>
            </p:custDataLst>
          </p:nvPr>
        </p:nvCxnSpPr>
        <p:spPr bwMode="auto">
          <a:xfrm flipV="1">
            <a:off x="10761663" y="2751138"/>
            <a:ext cx="0" cy="3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9" name="Straight Connector 958">
            <a:extLst>
              <a:ext uri="{FF2B5EF4-FFF2-40B4-BE49-F238E27FC236}">
                <a16:creationId xmlns="" xmlns:a16="http://schemas.microsoft.com/office/drawing/2014/main" id="{BC65CE30-FA7B-48BA-B136-063EAF958F50}"/>
              </a:ext>
            </a:extLst>
          </p:cNvPr>
          <p:cNvCxnSpPr/>
          <p:nvPr>
            <p:custDataLst>
              <p:tags r:id="rId70"/>
            </p:custDataLst>
          </p:nvPr>
        </p:nvCxnSpPr>
        <p:spPr bwMode="auto">
          <a:xfrm flipV="1">
            <a:off x="10826750" y="2747963"/>
            <a:ext cx="0" cy="3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3" name="Straight Connector 962">
            <a:extLst>
              <a:ext uri="{FF2B5EF4-FFF2-40B4-BE49-F238E27FC236}">
                <a16:creationId xmlns="" xmlns:a16="http://schemas.microsoft.com/office/drawing/2014/main" id="{92EE5A12-16E5-4581-B822-AF91CB2A40FF}"/>
              </a:ext>
            </a:extLst>
          </p:cNvPr>
          <p:cNvCxnSpPr/>
          <p:nvPr>
            <p:custDataLst>
              <p:tags r:id="rId71"/>
            </p:custDataLst>
          </p:nvPr>
        </p:nvCxnSpPr>
        <p:spPr bwMode="auto">
          <a:xfrm flipV="1">
            <a:off x="10958513" y="2741613"/>
            <a:ext cx="0" cy="3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8" name="Straight Connector 747">
            <a:extLst>
              <a:ext uri="{FF2B5EF4-FFF2-40B4-BE49-F238E27FC236}">
                <a16:creationId xmlns="" xmlns:a16="http://schemas.microsoft.com/office/drawing/2014/main" id="{C40629CA-F825-4A05-96AA-DA315E042779}"/>
              </a:ext>
            </a:extLst>
          </p:cNvPr>
          <p:cNvCxnSpPr/>
          <p:nvPr>
            <p:custDataLst>
              <p:tags r:id="rId72"/>
            </p:custDataLst>
          </p:nvPr>
        </p:nvCxnSpPr>
        <p:spPr bwMode="auto">
          <a:xfrm flipV="1">
            <a:off x="1803400" y="5881688"/>
            <a:ext cx="0" cy="190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8" name="Straight Connector 967">
            <a:extLst>
              <a:ext uri="{FF2B5EF4-FFF2-40B4-BE49-F238E27FC236}">
                <a16:creationId xmlns="" xmlns:a16="http://schemas.microsoft.com/office/drawing/2014/main" id="{ABF24555-A58C-4D78-9713-9C9B39C1231A}"/>
              </a:ext>
            </a:extLst>
          </p:cNvPr>
          <p:cNvCxnSpPr/>
          <p:nvPr>
            <p:custDataLst>
              <p:tags r:id="rId73"/>
            </p:custDataLst>
          </p:nvPr>
        </p:nvCxnSpPr>
        <p:spPr bwMode="auto">
          <a:xfrm flipV="1">
            <a:off x="11153775" y="2733675"/>
            <a:ext cx="0" cy="3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9" name="Straight Connector 968">
            <a:extLst>
              <a:ext uri="{FF2B5EF4-FFF2-40B4-BE49-F238E27FC236}">
                <a16:creationId xmlns="" xmlns:a16="http://schemas.microsoft.com/office/drawing/2014/main" id="{98FBE70E-76FE-4FE7-B4AD-5F2A39150DF0}"/>
              </a:ext>
            </a:extLst>
          </p:cNvPr>
          <p:cNvCxnSpPr/>
          <p:nvPr>
            <p:custDataLst>
              <p:tags r:id="rId74"/>
            </p:custDataLst>
          </p:nvPr>
        </p:nvCxnSpPr>
        <p:spPr bwMode="auto">
          <a:xfrm flipV="1">
            <a:off x="11153775" y="2733675"/>
            <a:ext cx="0" cy="3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9" name="Straight Connector 758">
            <a:extLst>
              <a:ext uri="{FF2B5EF4-FFF2-40B4-BE49-F238E27FC236}">
                <a16:creationId xmlns="" xmlns:a16="http://schemas.microsoft.com/office/drawing/2014/main" id="{AFD3BD0E-C11A-494E-8E68-E20353E7C908}"/>
              </a:ext>
            </a:extLst>
          </p:cNvPr>
          <p:cNvCxnSpPr/>
          <p:nvPr>
            <p:custDataLst>
              <p:tags r:id="rId75"/>
            </p:custDataLst>
          </p:nvPr>
        </p:nvCxnSpPr>
        <p:spPr bwMode="auto">
          <a:xfrm flipV="1">
            <a:off x="2522538" y="5643563"/>
            <a:ext cx="0" cy="254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3" name="Straight Connector 752">
            <a:extLst>
              <a:ext uri="{FF2B5EF4-FFF2-40B4-BE49-F238E27FC236}">
                <a16:creationId xmlns="" xmlns:a16="http://schemas.microsoft.com/office/drawing/2014/main" id="{3DC5474B-9CEA-4295-91A3-66A682BCC35F}"/>
              </a:ext>
            </a:extLst>
          </p:cNvPr>
          <p:cNvCxnSpPr/>
          <p:nvPr>
            <p:custDataLst>
              <p:tags r:id="rId76"/>
            </p:custDataLst>
          </p:nvPr>
        </p:nvCxnSpPr>
        <p:spPr bwMode="auto">
          <a:xfrm flipV="1">
            <a:off x="2130425" y="5783263"/>
            <a:ext cx="0" cy="206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4" name="Straight Connector 873">
            <a:extLst>
              <a:ext uri="{FF2B5EF4-FFF2-40B4-BE49-F238E27FC236}">
                <a16:creationId xmlns="" xmlns:a16="http://schemas.microsoft.com/office/drawing/2014/main" id="{DF3C425C-E6A4-4103-BEE9-9BD4E3AC4377}"/>
              </a:ext>
            </a:extLst>
          </p:cNvPr>
          <p:cNvCxnSpPr/>
          <p:nvPr>
            <p:custDataLst>
              <p:tags r:id="rId77"/>
            </p:custDataLst>
          </p:nvPr>
        </p:nvCxnSpPr>
        <p:spPr bwMode="auto">
          <a:xfrm flipV="1">
            <a:off x="8080375" y="3170238"/>
            <a:ext cx="0" cy="190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5" name="Straight Connector 824">
            <a:extLst>
              <a:ext uri="{FF2B5EF4-FFF2-40B4-BE49-F238E27FC236}">
                <a16:creationId xmlns="" xmlns:a16="http://schemas.microsoft.com/office/drawing/2014/main" id="{3B58CF62-3FCC-4F3E-935B-5C0ED51C3983}"/>
              </a:ext>
            </a:extLst>
          </p:cNvPr>
          <p:cNvCxnSpPr/>
          <p:nvPr>
            <p:custDataLst>
              <p:tags r:id="rId78"/>
            </p:custDataLst>
          </p:nvPr>
        </p:nvCxnSpPr>
        <p:spPr bwMode="auto">
          <a:xfrm flipV="1">
            <a:off x="6445250" y="3770313"/>
            <a:ext cx="0" cy="285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9" name="Straight Connector 808">
            <a:extLst>
              <a:ext uri="{FF2B5EF4-FFF2-40B4-BE49-F238E27FC236}">
                <a16:creationId xmlns="" xmlns:a16="http://schemas.microsoft.com/office/drawing/2014/main" id="{194D7FCF-A546-4AEE-AD6C-AF1D01716DC7}"/>
              </a:ext>
            </a:extLst>
          </p:cNvPr>
          <p:cNvCxnSpPr/>
          <p:nvPr>
            <p:custDataLst>
              <p:tags r:id="rId79"/>
            </p:custDataLst>
          </p:nvPr>
        </p:nvCxnSpPr>
        <p:spPr bwMode="auto">
          <a:xfrm flipV="1">
            <a:off x="5791200" y="4081463"/>
            <a:ext cx="0" cy="333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8" name="Straight Connector 1217">
            <a:extLst>
              <a:ext uri="{FF2B5EF4-FFF2-40B4-BE49-F238E27FC236}">
                <a16:creationId xmlns="" xmlns:a16="http://schemas.microsoft.com/office/drawing/2014/main" id="{332547DB-0CE0-400A-8153-DEDEE709915B}"/>
              </a:ext>
            </a:extLst>
          </p:cNvPr>
          <p:cNvCxnSpPr/>
          <p:nvPr>
            <p:custDataLst>
              <p:tags r:id="rId80"/>
            </p:custDataLst>
          </p:nvPr>
        </p:nvCxnSpPr>
        <p:spPr bwMode="auto">
          <a:xfrm flipV="1">
            <a:off x="11218863" y="2732088"/>
            <a:ext cx="0" cy="15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4" name="Straight Connector 1233">
            <a:extLst>
              <a:ext uri="{FF2B5EF4-FFF2-40B4-BE49-F238E27FC236}">
                <a16:creationId xmlns="" xmlns:a16="http://schemas.microsoft.com/office/drawing/2014/main" id="{DE2609D6-0114-450A-9C45-AD19C3956B2E}"/>
              </a:ext>
            </a:extLst>
          </p:cNvPr>
          <p:cNvCxnSpPr/>
          <p:nvPr>
            <p:custDataLst>
              <p:tags r:id="rId81"/>
            </p:custDataLst>
          </p:nvPr>
        </p:nvCxnSpPr>
        <p:spPr bwMode="auto">
          <a:xfrm flipV="1">
            <a:off x="11285538" y="2730500"/>
            <a:ext cx="0" cy="15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1" name="Straight Connector 1220">
            <a:extLst>
              <a:ext uri="{FF2B5EF4-FFF2-40B4-BE49-F238E27FC236}">
                <a16:creationId xmlns="" xmlns:a16="http://schemas.microsoft.com/office/drawing/2014/main" id="{CAF1D05C-A1D5-44FC-AFC7-BF6E2F9BAD75}"/>
              </a:ext>
            </a:extLst>
          </p:cNvPr>
          <p:cNvCxnSpPr/>
          <p:nvPr>
            <p:custDataLst>
              <p:tags r:id="rId82"/>
            </p:custDataLst>
          </p:nvPr>
        </p:nvCxnSpPr>
        <p:spPr bwMode="auto">
          <a:xfrm flipV="1">
            <a:off x="11350625" y="2728913"/>
            <a:ext cx="0" cy="15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1" name="Straight Connector 860">
            <a:extLst>
              <a:ext uri="{FF2B5EF4-FFF2-40B4-BE49-F238E27FC236}">
                <a16:creationId xmlns="" xmlns:a16="http://schemas.microsoft.com/office/drawing/2014/main" id="{80003611-565A-4842-A053-63FE4379DA18}"/>
              </a:ext>
            </a:extLst>
          </p:cNvPr>
          <p:cNvCxnSpPr/>
          <p:nvPr>
            <p:custDataLst>
              <p:tags r:id="rId83"/>
            </p:custDataLst>
          </p:nvPr>
        </p:nvCxnSpPr>
        <p:spPr bwMode="auto">
          <a:xfrm flipV="1">
            <a:off x="7623175" y="3311525"/>
            <a:ext cx="0" cy="206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7" name="Straight Connector 806">
            <a:extLst>
              <a:ext uri="{FF2B5EF4-FFF2-40B4-BE49-F238E27FC236}">
                <a16:creationId xmlns="" xmlns:a16="http://schemas.microsoft.com/office/drawing/2014/main" id="{0B2E341F-83B3-4006-995D-2FC5807E5EF9}"/>
              </a:ext>
            </a:extLst>
          </p:cNvPr>
          <p:cNvCxnSpPr/>
          <p:nvPr>
            <p:custDataLst>
              <p:tags r:id="rId84"/>
            </p:custDataLst>
          </p:nvPr>
        </p:nvCxnSpPr>
        <p:spPr bwMode="auto">
          <a:xfrm flipV="1">
            <a:off x="5661025" y="4146550"/>
            <a:ext cx="0" cy="333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5" name="Straight Connector 744">
            <a:extLst>
              <a:ext uri="{FF2B5EF4-FFF2-40B4-BE49-F238E27FC236}">
                <a16:creationId xmlns="" xmlns:a16="http://schemas.microsoft.com/office/drawing/2014/main" id="{D277CDDC-AADA-4687-B201-61CAD14EDD69}"/>
              </a:ext>
            </a:extLst>
          </p:cNvPr>
          <p:cNvCxnSpPr/>
          <p:nvPr>
            <p:custDataLst>
              <p:tags r:id="rId85"/>
            </p:custDataLst>
          </p:nvPr>
        </p:nvCxnSpPr>
        <p:spPr bwMode="auto">
          <a:xfrm flipV="1">
            <a:off x="1606550" y="5935663"/>
            <a:ext cx="0" cy="190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2" name="Straight Connector 751">
            <a:extLst>
              <a:ext uri="{FF2B5EF4-FFF2-40B4-BE49-F238E27FC236}">
                <a16:creationId xmlns="" xmlns:a16="http://schemas.microsoft.com/office/drawing/2014/main" id="{92B1CA69-A942-415B-BF3D-227ABE2EDFD0}"/>
              </a:ext>
            </a:extLst>
          </p:cNvPr>
          <p:cNvCxnSpPr/>
          <p:nvPr>
            <p:custDataLst>
              <p:tags r:id="rId86"/>
            </p:custDataLst>
          </p:nvPr>
        </p:nvCxnSpPr>
        <p:spPr bwMode="auto">
          <a:xfrm flipV="1">
            <a:off x="2065338" y="5803900"/>
            <a:ext cx="0" cy="206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9" name="Straight Connector 748">
            <a:extLst>
              <a:ext uri="{FF2B5EF4-FFF2-40B4-BE49-F238E27FC236}">
                <a16:creationId xmlns="" xmlns:a16="http://schemas.microsoft.com/office/drawing/2014/main" id="{B1B90E8E-930D-47FD-B9F8-DBEE8F5D6DCC}"/>
              </a:ext>
            </a:extLst>
          </p:cNvPr>
          <p:cNvCxnSpPr/>
          <p:nvPr>
            <p:custDataLst>
              <p:tags r:id="rId87"/>
            </p:custDataLst>
          </p:nvPr>
        </p:nvCxnSpPr>
        <p:spPr bwMode="auto">
          <a:xfrm flipV="1">
            <a:off x="1868488" y="5862638"/>
            <a:ext cx="0" cy="190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5" name="Straight Connector 924">
            <a:extLst>
              <a:ext uri="{FF2B5EF4-FFF2-40B4-BE49-F238E27FC236}">
                <a16:creationId xmlns="" xmlns:a16="http://schemas.microsoft.com/office/drawing/2014/main" id="{05C1AAA8-0ED3-45D5-B47E-AF5A71F3AACD}"/>
              </a:ext>
            </a:extLst>
          </p:cNvPr>
          <p:cNvCxnSpPr/>
          <p:nvPr>
            <p:custDataLst>
              <p:tags r:id="rId88"/>
            </p:custDataLst>
          </p:nvPr>
        </p:nvCxnSpPr>
        <p:spPr bwMode="auto">
          <a:xfrm flipV="1">
            <a:off x="9715500" y="2844800"/>
            <a:ext cx="0" cy="79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0" name="Straight Connector 749">
            <a:extLst>
              <a:ext uri="{FF2B5EF4-FFF2-40B4-BE49-F238E27FC236}">
                <a16:creationId xmlns="" xmlns:a16="http://schemas.microsoft.com/office/drawing/2014/main" id="{D65614B8-64AE-4520-96D2-E24A9145102C}"/>
              </a:ext>
            </a:extLst>
          </p:cNvPr>
          <p:cNvCxnSpPr/>
          <p:nvPr>
            <p:custDataLst>
              <p:tags r:id="rId89"/>
            </p:custDataLst>
          </p:nvPr>
        </p:nvCxnSpPr>
        <p:spPr bwMode="auto">
          <a:xfrm flipV="1">
            <a:off x="1933575" y="5843588"/>
            <a:ext cx="0" cy="190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8" name="Straight Connector 837">
            <a:extLst>
              <a:ext uri="{FF2B5EF4-FFF2-40B4-BE49-F238E27FC236}">
                <a16:creationId xmlns="" xmlns:a16="http://schemas.microsoft.com/office/drawing/2014/main" id="{467D59A5-14AE-4D2E-9825-C454CA34A7B6}"/>
              </a:ext>
            </a:extLst>
          </p:cNvPr>
          <p:cNvCxnSpPr/>
          <p:nvPr>
            <p:custDataLst>
              <p:tags r:id="rId90"/>
            </p:custDataLst>
          </p:nvPr>
        </p:nvCxnSpPr>
        <p:spPr bwMode="auto">
          <a:xfrm flipV="1">
            <a:off x="6904038" y="3575050"/>
            <a:ext cx="0" cy="269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1" name="Straight Connector 750">
            <a:extLst>
              <a:ext uri="{FF2B5EF4-FFF2-40B4-BE49-F238E27FC236}">
                <a16:creationId xmlns="" xmlns:a16="http://schemas.microsoft.com/office/drawing/2014/main" id="{F8B006F5-6FEA-48F9-9705-8868A15C214F}"/>
              </a:ext>
            </a:extLst>
          </p:cNvPr>
          <p:cNvCxnSpPr/>
          <p:nvPr>
            <p:custDataLst>
              <p:tags r:id="rId91"/>
            </p:custDataLst>
          </p:nvPr>
        </p:nvCxnSpPr>
        <p:spPr bwMode="auto">
          <a:xfrm flipV="1">
            <a:off x="1998663" y="5824538"/>
            <a:ext cx="0" cy="190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4" name="Straight Connector 753">
            <a:extLst>
              <a:ext uri="{FF2B5EF4-FFF2-40B4-BE49-F238E27FC236}">
                <a16:creationId xmlns="" xmlns:a16="http://schemas.microsoft.com/office/drawing/2014/main" id="{374A85C5-C95E-41E7-B3E0-2CCF943EF234}"/>
              </a:ext>
            </a:extLst>
          </p:cNvPr>
          <p:cNvCxnSpPr/>
          <p:nvPr>
            <p:custDataLst>
              <p:tags r:id="rId92"/>
            </p:custDataLst>
          </p:nvPr>
        </p:nvCxnSpPr>
        <p:spPr bwMode="auto">
          <a:xfrm flipV="1">
            <a:off x="2195513" y="5762625"/>
            <a:ext cx="0" cy="206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0" name="Straight Connector 899">
            <a:extLst>
              <a:ext uri="{FF2B5EF4-FFF2-40B4-BE49-F238E27FC236}">
                <a16:creationId xmlns="" xmlns:a16="http://schemas.microsoft.com/office/drawing/2014/main" id="{2E05E9C3-0DF5-4200-A600-23A03A505908}"/>
              </a:ext>
            </a:extLst>
          </p:cNvPr>
          <p:cNvCxnSpPr/>
          <p:nvPr>
            <p:custDataLst>
              <p:tags r:id="rId93"/>
            </p:custDataLst>
          </p:nvPr>
        </p:nvCxnSpPr>
        <p:spPr bwMode="auto">
          <a:xfrm flipV="1">
            <a:off x="8931275" y="2970213"/>
            <a:ext cx="0" cy="127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8" name="Straight Connector 757">
            <a:extLst>
              <a:ext uri="{FF2B5EF4-FFF2-40B4-BE49-F238E27FC236}">
                <a16:creationId xmlns="" xmlns:a16="http://schemas.microsoft.com/office/drawing/2014/main" id="{0393F725-FBD5-4235-971D-34EAB1654B49}"/>
              </a:ext>
            </a:extLst>
          </p:cNvPr>
          <p:cNvCxnSpPr/>
          <p:nvPr>
            <p:custDataLst>
              <p:tags r:id="rId94"/>
            </p:custDataLst>
          </p:nvPr>
        </p:nvCxnSpPr>
        <p:spPr bwMode="auto">
          <a:xfrm flipV="1">
            <a:off x="2457450" y="5668963"/>
            <a:ext cx="0" cy="254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1" name="Straight Connector 760">
            <a:extLst>
              <a:ext uri="{FF2B5EF4-FFF2-40B4-BE49-F238E27FC236}">
                <a16:creationId xmlns="" xmlns:a16="http://schemas.microsoft.com/office/drawing/2014/main" id="{29CDE607-8314-4AAB-93C3-A5234E4EDE70}"/>
              </a:ext>
            </a:extLst>
          </p:cNvPr>
          <p:cNvCxnSpPr/>
          <p:nvPr>
            <p:custDataLst>
              <p:tags r:id="rId95"/>
            </p:custDataLst>
          </p:nvPr>
        </p:nvCxnSpPr>
        <p:spPr bwMode="auto">
          <a:xfrm flipV="1">
            <a:off x="2652713" y="5589588"/>
            <a:ext cx="0" cy="285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3" name="Straight Connector 762">
            <a:extLst>
              <a:ext uri="{FF2B5EF4-FFF2-40B4-BE49-F238E27FC236}">
                <a16:creationId xmlns="" xmlns:a16="http://schemas.microsoft.com/office/drawing/2014/main" id="{5B324ED5-AD23-4D69-8F83-0F3C09A91DA1}"/>
              </a:ext>
            </a:extLst>
          </p:cNvPr>
          <p:cNvCxnSpPr/>
          <p:nvPr>
            <p:custDataLst>
              <p:tags r:id="rId96"/>
            </p:custDataLst>
          </p:nvPr>
        </p:nvCxnSpPr>
        <p:spPr bwMode="auto">
          <a:xfrm flipV="1">
            <a:off x="2784475" y="5534025"/>
            <a:ext cx="0" cy="285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4" name="Straight Connector 763">
            <a:extLst>
              <a:ext uri="{FF2B5EF4-FFF2-40B4-BE49-F238E27FC236}">
                <a16:creationId xmlns="" xmlns:a16="http://schemas.microsoft.com/office/drawing/2014/main" id="{71C8AC7C-82F9-402C-90CC-8DE7ADC9EBD0}"/>
              </a:ext>
            </a:extLst>
          </p:cNvPr>
          <p:cNvCxnSpPr/>
          <p:nvPr>
            <p:custDataLst>
              <p:tags r:id="rId97"/>
            </p:custDataLst>
          </p:nvPr>
        </p:nvCxnSpPr>
        <p:spPr bwMode="auto">
          <a:xfrm flipV="1">
            <a:off x="2849563" y="5503863"/>
            <a:ext cx="0" cy="301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5" name="Straight Connector 764">
            <a:extLst>
              <a:ext uri="{FF2B5EF4-FFF2-40B4-BE49-F238E27FC236}">
                <a16:creationId xmlns="" xmlns:a16="http://schemas.microsoft.com/office/drawing/2014/main" id="{D1CC1C84-E97C-4F4D-BAA9-279D87BD3F84}"/>
              </a:ext>
            </a:extLst>
          </p:cNvPr>
          <p:cNvCxnSpPr/>
          <p:nvPr>
            <p:custDataLst>
              <p:tags r:id="rId98"/>
            </p:custDataLst>
          </p:nvPr>
        </p:nvCxnSpPr>
        <p:spPr bwMode="auto">
          <a:xfrm flipV="1">
            <a:off x="2914650" y="5475288"/>
            <a:ext cx="0" cy="285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6" name="Straight Connector 765">
            <a:extLst>
              <a:ext uri="{FF2B5EF4-FFF2-40B4-BE49-F238E27FC236}">
                <a16:creationId xmlns="" xmlns:a16="http://schemas.microsoft.com/office/drawing/2014/main" id="{ADBE9D66-EBF9-4A59-86B2-14AFC1B6B81D}"/>
              </a:ext>
            </a:extLst>
          </p:cNvPr>
          <p:cNvCxnSpPr/>
          <p:nvPr>
            <p:custDataLst>
              <p:tags r:id="rId99"/>
            </p:custDataLst>
          </p:nvPr>
        </p:nvCxnSpPr>
        <p:spPr bwMode="auto">
          <a:xfrm flipV="1">
            <a:off x="2979738" y="5446713"/>
            <a:ext cx="0" cy="285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7" name="Straight Connector 766">
            <a:extLst>
              <a:ext uri="{FF2B5EF4-FFF2-40B4-BE49-F238E27FC236}">
                <a16:creationId xmlns="" xmlns:a16="http://schemas.microsoft.com/office/drawing/2014/main" id="{1126A9C0-45F7-427C-BF47-9A502BA2226A}"/>
              </a:ext>
            </a:extLst>
          </p:cNvPr>
          <p:cNvCxnSpPr/>
          <p:nvPr>
            <p:custDataLst>
              <p:tags r:id="rId100"/>
            </p:custDataLst>
          </p:nvPr>
        </p:nvCxnSpPr>
        <p:spPr bwMode="auto">
          <a:xfrm flipV="1">
            <a:off x="3044825" y="5416550"/>
            <a:ext cx="0" cy="301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9" name="Straight Connector 768">
            <a:extLst>
              <a:ext uri="{FF2B5EF4-FFF2-40B4-BE49-F238E27FC236}">
                <a16:creationId xmlns="" xmlns:a16="http://schemas.microsoft.com/office/drawing/2014/main" id="{4B660D1A-2D92-4454-BFE7-2527960FF432}"/>
              </a:ext>
            </a:extLst>
          </p:cNvPr>
          <p:cNvCxnSpPr/>
          <p:nvPr>
            <p:custDataLst>
              <p:tags r:id="rId101"/>
            </p:custDataLst>
          </p:nvPr>
        </p:nvCxnSpPr>
        <p:spPr bwMode="auto">
          <a:xfrm flipV="1">
            <a:off x="3176588" y="5357813"/>
            <a:ext cx="0" cy="301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0" name="Straight Connector 769">
            <a:extLst>
              <a:ext uri="{FF2B5EF4-FFF2-40B4-BE49-F238E27FC236}">
                <a16:creationId xmlns="" xmlns:a16="http://schemas.microsoft.com/office/drawing/2014/main" id="{C9798DDB-405B-45E9-BF01-96CE0AD93868}"/>
              </a:ext>
            </a:extLst>
          </p:cNvPr>
          <p:cNvCxnSpPr/>
          <p:nvPr>
            <p:custDataLst>
              <p:tags r:id="rId102"/>
            </p:custDataLst>
          </p:nvPr>
        </p:nvCxnSpPr>
        <p:spPr bwMode="auto">
          <a:xfrm flipV="1">
            <a:off x="3241675" y="5329238"/>
            <a:ext cx="0" cy="285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2" name="Straight Connector 771">
            <a:extLst>
              <a:ext uri="{FF2B5EF4-FFF2-40B4-BE49-F238E27FC236}">
                <a16:creationId xmlns="" xmlns:a16="http://schemas.microsoft.com/office/drawing/2014/main" id="{6230CACD-3553-4F97-BB2D-BF08D3DC6443}"/>
              </a:ext>
            </a:extLst>
          </p:cNvPr>
          <p:cNvCxnSpPr/>
          <p:nvPr>
            <p:custDataLst>
              <p:tags r:id="rId103"/>
            </p:custDataLst>
          </p:nvPr>
        </p:nvCxnSpPr>
        <p:spPr bwMode="auto">
          <a:xfrm flipV="1">
            <a:off x="3371850" y="5270500"/>
            <a:ext cx="0" cy="301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3" name="Straight Connector 772">
            <a:extLst>
              <a:ext uri="{FF2B5EF4-FFF2-40B4-BE49-F238E27FC236}">
                <a16:creationId xmlns="" xmlns:a16="http://schemas.microsoft.com/office/drawing/2014/main" id="{DAD90494-0227-4C3D-A674-38284E6A6938}"/>
              </a:ext>
            </a:extLst>
          </p:cNvPr>
          <p:cNvCxnSpPr/>
          <p:nvPr>
            <p:custDataLst>
              <p:tags r:id="rId104"/>
            </p:custDataLst>
          </p:nvPr>
        </p:nvCxnSpPr>
        <p:spPr bwMode="auto">
          <a:xfrm flipV="1">
            <a:off x="3438525" y="5241925"/>
            <a:ext cx="0" cy="285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4" name="Straight Connector 773">
            <a:extLst>
              <a:ext uri="{FF2B5EF4-FFF2-40B4-BE49-F238E27FC236}">
                <a16:creationId xmlns="" xmlns:a16="http://schemas.microsoft.com/office/drawing/2014/main" id="{21CED22D-C799-4826-A31B-8DB35E7A42E4}"/>
              </a:ext>
            </a:extLst>
          </p:cNvPr>
          <p:cNvCxnSpPr/>
          <p:nvPr>
            <p:custDataLst>
              <p:tags r:id="rId105"/>
            </p:custDataLst>
          </p:nvPr>
        </p:nvCxnSpPr>
        <p:spPr bwMode="auto">
          <a:xfrm flipV="1">
            <a:off x="3503613" y="5211763"/>
            <a:ext cx="0" cy="301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6" name="Straight Connector 775">
            <a:extLst>
              <a:ext uri="{FF2B5EF4-FFF2-40B4-BE49-F238E27FC236}">
                <a16:creationId xmlns="" xmlns:a16="http://schemas.microsoft.com/office/drawing/2014/main" id="{F3A083BD-00F6-4700-9252-DF1B1D32D290}"/>
              </a:ext>
            </a:extLst>
          </p:cNvPr>
          <p:cNvCxnSpPr/>
          <p:nvPr>
            <p:custDataLst>
              <p:tags r:id="rId106"/>
            </p:custDataLst>
          </p:nvPr>
        </p:nvCxnSpPr>
        <p:spPr bwMode="auto">
          <a:xfrm flipV="1">
            <a:off x="3633788" y="5149850"/>
            <a:ext cx="0" cy="31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7" name="Straight Connector 776">
            <a:extLst>
              <a:ext uri="{FF2B5EF4-FFF2-40B4-BE49-F238E27FC236}">
                <a16:creationId xmlns="" xmlns:a16="http://schemas.microsoft.com/office/drawing/2014/main" id="{6D8F9BE2-5E8F-4DD1-9846-433DFC6BDA0A}"/>
              </a:ext>
            </a:extLst>
          </p:cNvPr>
          <p:cNvCxnSpPr/>
          <p:nvPr>
            <p:custDataLst>
              <p:tags r:id="rId107"/>
            </p:custDataLst>
          </p:nvPr>
        </p:nvCxnSpPr>
        <p:spPr bwMode="auto">
          <a:xfrm flipV="1">
            <a:off x="3698875" y="5118100"/>
            <a:ext cx="0" cy="31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8" name="Straight Connector 777">
            <a:extLst>
              <a:ext uri="{FF2B5EF4-FFF2-40B4-BE49-F238E27FC236}">
                <a16:creationId xmlns="" xmlns:a16="http://schemas.microsoft.com/office/drawing/2014/main" id="{DAB1EEB7-4904-4087-BAEB-CA3C99A36BE7}"/>
              </a:ext>
            </a:extLst>
          </p:cNvPr>
          <p:cNvCxnSpPr/>
          <p:nvPr>
            <p:custDataLst>
              <p:tags r:id="rId108"/>
            </p:custDataLst>
          </p:nvPr>
        </p:nvCxnSpPr>
        <p:spPr bwMode="auto">
          <a:xfrm flipV="1">
            <a:off x="3765550" y="5084763"/>
            <a:ext cx="0" cy="333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9" name="Straight Connector 778">
            <a:extLst>
              <a:ext uri="{FF2B5EF4-FFF2-40B4-BE49-F238E27FC236}">
                <a16:creationId xmlns="" xmlns:a16="http://schemas.microsoft.com/office/drawing/2014/main" id="{626E1076-E159-4B33-BCD6-EF5DEEFE5869}"/>
              </a:ext>
            </a:extLst>
          </p:cNvPr>
          <p:cNvCxnSpPr/>
          <p:nvPr>
            <p:custDataLst>
              <p:tags r:id="rId109"/>
            </p:custDataLst>
          </p:nvPr>
        </p:nvCxnSpPr>
        <p:spPr bwMode="auto">
          <a:xfrm flipV="1">
            <a:off x="3830638" y="5051425"/>
            <a:ext cx="0" cy="333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0" name="Straight Connector 779">
            <a:extLst>
              <a:ext uri="{FF2B5EF4-FFF2-40B4-BE49-F238E27FC236}">
                <a16:creationId xmlns="" xmlns:a16="http://schemas.microsoft.com/office/drawing/2014/main" id="{1DCE650D-B76A-4B6D-905D-91960C9B97B8}"/>
              </a:ext>
            </a:extLst>
          </p:cNvPr>
          <p:cNvCxnSpPr/>
          <p:nvPr>
            <p:custDataLst>
              <p:tags r:id="rId110"/>
            </p:custDataLst>
          </p:nvPr>
        </p:nvCxnSpPr>
        <p:spPr bwMode="auto">
          <a:xfrm flipV="1">
            <a:off x="3895725" y="5016500"/>
            <a:ext cx="0" cy="349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1" name="Straight Connector 780">
            <a:extLst>
              <a:ext uri="{FF2B5EF4-FFF2-40B4-BE49-F238E27FC236}">
                <a16:creationId xmlns="" xmlns:a16="http://schemas.microsoft.com/office/drawing/2014/main" id="{81270AD7-CDA3-4469-8232-06BDD20F2417}"/>
              </a:ext>
            </a:extLst>
          </p:cNvPr>
          <p:cNvCxnSpPr/>
          <p:nvPr>
            <p:custDataLst>
              <p:tags r:id="rId111"/>
            </p:custDataLst>
          </p:nvPr>
        </p:nvCxnSpPr>
        <p:spPr bwMode="auto">
          <a:xfrm flipV="1">
            <a:off x="3960813" y="4981575"/>
            <a:ext cx="0" cy="349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0" name="Straight Connector 889">
            <a:extLst>
              <a:ext uri="{FF2B5EF4-FFF2-40B4-BE49-F238E27FC236}">
                <a16:creationId xmlns="" xmlns:a16="http://schemas.microsoft.com/office/drawing/2014/main" id="{F31EC0FD-D63B-4377-BE9B-7DB05B4CDD6B}"/>
              </a:ext>
            </a:extLst>
          </p:cNvPr>
          <p:cNvCxnSpPr/>
          <p:nvPr>
            <p:custDataLst>
              <p:tags r:id="rId112"/>
            </p:custDataLst>
          </p:nvPr>
        </p:nvCxnSpPr>
        <p:spPr bwMode="auto">
          <a:xfrm flipV="1">
            <a:off x="8604250" y="3038475"/>
            <a:ext cx="0" cy="142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2" name="Straight Connector 781">
            <a:extLst>
              <a:ext uri="{FF2B5EF4-FFF2-40B4-BE49-F238E27FC236}">
                <a16:creationId xmlns="" xmlns:a16="http://schemas.microsoft.com/office/drawing/2014/main" id="{9EAACE69-0145-42C6-8815-679575FACDE1}"/>
              </a:ext>
            </a:extLst>
          </p:cNvPr>
          <p:cNvCxnSpPr/>
          <p:nvPr>
            <p:custDataLst>
              <p:tags r:id="rId113"/>
            </p:custDataLst>
          </p:nvPr>
        </p:nvCxnSpPr>
        <p:spPr bwMode="auto">
          <a:xfrm flipV="1">
            <a:off x="4025900" y="4945063"/>
            <a:ext cx="0" cy="365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5" name="Straight Connector 1234">
            <a:extLst>
              <a:ext uri="{FF2B5EF4-FFF2-40B4-BE49-F238E27FC236}">
                <a16:creationId xmlns="" xmlns:a16="http://schemas.microsoft.com/office/drawing/2014/main" id="{D9571277-4ED5-4BE9-A6A8-9D4652D02ED5}"/>
              </a:ext>
            </a:extLst>
          </p:cNvPr>
          <p:cNvCxnSpPr/>
          <p:nvPr>
            <p:custDataLst>
              <p:tags r:id="rId114"/>
            </p:custDataLst>
          </p:nvPr>
        </p:nvCxnSpPr>
        <p:spPr bwMode="auto">
          <a:xfrm flipV="1">
            <a:off x="11285538" y="2730500"/>
            <a:ext cx="0" cy="15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3" name="Straight Connector 782">
            <a:extLst>
              <a:ext uri="{FF2B5EF4-FFF2-40B4-BE49-F238E27FC236}">
                <a16:creationId xmlns="" xmlns:a16="http://schemas.microsoft.com/office/drawing/2014/main" id="{9EB7B6B1-A9E7-471B-9849-A98A66E96EFD}"/>
              </a:ext>
            </a:extLst>
          </p:cNvPr>
          <p:cNvCxnSpPr/>
          <p:nvPr>
            <p:custDataLst>
              <p:tags r:id="rId115"/>
            </p:custDataLst>
          </p:nvPr>
        </p:nvCxnSpPr>
        <p:spPr bwMode="auto">
          <a:xfrm flipV="1">
            <a:off x="4090988" y="4910138"/>
            <a:ext cx="0" cy="349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4" name="Straight Connector 783">
            <a:extLst>
              <a:ext uri="{FF2B5EF4-FFF2-40B4-BE49-F238E27FC236}">
                <a16:creationId xmlns="" xmlns:a16="http://schemas.microsoft.com/office/drawing/2014/main" id="{1685B755-A4EB-4164-8C8E-2DC63F73DE9E}"/>
              </a:ext>
            </a:extLst>
          </p:cNvPr>
          <p:cNvCxnSpPr/>
          <p:nvPr>
            <p:custDataLst>
              <p:tags r:id="rId116"/>
            </p:custDataLst>
          </p:nvPr>
        </p:nvCxnSpPr>
        <p:spPr bwMode="auto">
          <a:xfrm flipV="1">
            <a:off x="4157663" y="4875213"/>
            <a:ext cx="0" cy="349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5" name="Straight Connector 784">
            <a:extLst>
              <a:ext uri="{FF2B5EF4-FFF2-40B4-BE49-F238E27FC236}">
                <a16:creationId xmlns="" xmlns:a16="http://schemas.microsoft.com/office/drawing/2014/main" id="{0E82F23E-99D6-45E8-9458-EE2EE0F698D7}"/>
              </a:ext>
            </a:extLst>
          </p:cNvPr>
          <p:cNvCxnSpPr/>
          <p:nvPr>
            <p:custDataLst>
              <p:tags r:id="rId117"/>
            </p:custDataLst>
          </p:nvPr>
        </p:nvCxnSpPr>
        <p:spPr bwMode="auto">
          <a:xfrm flipV="1">
            <a:off x="4222750" y="4841875"/>
            <a:ext cx="0" cy="333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6" name="Straight Connector 785">
            <a:extLst>
              <a:ext uri="{FF2B5EF4-FFF2-40B4-BE49-F238E27FC236}">
                <a16:creationId xmlns="" xmlns:a16="http://schemas.microsoft.com/office/drawing/2014/main" id="{D2A6F0C9-81C3-4B39-AB36-7B043F1B1CD1}"/>
              </a:ext>
            </a:extLst>
          </p:cNvPr>
          <p:cNvCxnSpPr/>
          <p:nvPr>
            <p:custDataLst>
              <p:tags r:id="rId118"/>
            </p:custDataLst>
          </p:nvPr>
        </p:nvCxnSpPr>
        <p:spPr bwMode="auto">
          <a:xfrm flipV="1">
            <a:off x="4287838" y="4808538"/>
            <a:ext cx="0" cy="333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5" name="Straight Connector 964">
            <a:extLst>
              <a:ext uri="{FF2B5EF4-FFF2-40B4-BE49-F238E27FC236}">
                <a16:creationId xmlns="" xmlns:a16="http://schemas.microsoft.com/office/drawing/2014/main" id="{222E2C1E-95E5-4A47-9651-A3A67AA8D1F4}"/>
              </a:ext>
            </a:extLst>
          </p:cNvPr>
          <p:cNvCxnSpPr/>
          <p:nvPr>
            <p:custDataLst>
              <p:tags r:id="rId119"/>
            </p:custDataLst>
          </p:nvPr>
        </p:nvCxnSpPr>
        <p:spPr bwMode="auto">
          <a:xfrm flipV="1">
            <a:off x="11023600" y="2738438"/>
            <a:ext cx="0" cy="3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7" name="Straight Connector 786">
            <a:extLst>
              <a:ext uri="{FF2B5EF4-FFF2-40B4-BE49-F238E27FC236}">
                <a16:creationId xmlns="" xmlns:a16="http://schemas.microsoft.com/office/drawing/2014/main" id="{60EE070E-8E66-4910-916D-ED88E5BDD2F9}"/>
              </a:ext>
            </a:extLst>
          </p:cNvPr>
          <p:cNvCxnSpPr/>
          <p:nvPr>
            <p:custDataLst>
              <p:tags r:id="rId120"/>
            </p:custDataLst>
          </p:nvPr>
        </p:nvCxnSpPr>
        <p:spPr bwMode="auto">
          <a:xfrm flipV="1">
            <a:off x="4352925" y="4776788"/>
            <a:ext cx="0" cy="31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8" name="Straight Connector 937">
            <a:extLst>
              <a:ext uri="{FF2B5EF4-FFF2-40B4-BE49-F238E27FC236}">
                <a16:creationId xmlns="" xmlns:a16="http://schemas.microsoft.com/office/drawing/2014/main" id="{D7B45B9E-F4F9-4B6D-BA49-B57EBCE84807}"/>
              </a:ext>
            </a:extLst>
          </p:cNvPr>
          <p:cNvCxnSpPr/>
          <p:nvPr>
            <p:custDataLst>
              <p:tags r:id="rId121"/>
            </p:custDataLst>
          </p:nvPr>
        </p:nvCxnSpPr>
        <p:spPr bwMode="auto">
          <a:xfrm flipV="1">
            <a:off x="10172700" y="2794000"/>
            <a:ext cx="0" cy="63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8" name="Straight Connector 787">
            <a:extLst>
              <a:ext uri="{FF2B5EF4-FFF2-40B4-BE49-F238E27FC236}">
                <a16:creationId xmlns="" xmlns:a16="http://schemas.microsoft.com/office/drawing/2014/main" id="{36FC83C3-20D1-466E-AA22-AB895B4D3F24}"/>
              </a:ext>
            </a:extLst>
          </p:cNvPr>
          <p:cNvCxnSpPr/>
          <p:nvPr>
            <p:custDataLst>
              <p:tags r:id="rId122"/>
            </p:custDataLst>
          </p:nvPr>
        </p:nvCxnSpPr>
        <p:spPr bwMode="auto">
          <a:xfrm flipV="1">
            <a:off x="4418013" y="4745038"/>
            <a:ext cx="0" cy="31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9" name="Straight Connector 788">
            <a:extLst>
              <a:ext uri="{FF2B5EF4-FFF2-40B4-BE49-F238E27FC236}">
                <a16:creationId xmlns="" xmlns:a16="http://schemas.microsoft.com/office/drawing/2014/main" id="{E3A20A90-450D-4FFA-BA1C-ADDED99C749A}"/>
              </a:ext>
            </a:extLst>
          </p:cNvPr>
          <p:cNvCxnSpPr/>
          <p:nvPr>
            <p:custDataLst>
              <p:tags r:id="rId123"/>
            </p:custDataLst>
          </p:nvPr>
        </p:nvCxnSpPr>
        <p:spPr bwMode="auto">
          <a:xfrm flipV="1">
            <a:off x="4484688" y="4713288"/>
            <a:ext cx="0" cy="31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2" name="Straight Connector 791">
            <a:extLst>
              <a:ext uri="{FF2B5EF4-FFF2-40B4-BE49-F238E27FC236}">
                <a16:creationId xmlns="" xmlns:a16="http://schemas.microsoft.com/office/drawing/2014/main" id="{7E972BF9-44A1-4E7A-8E3E-9A42B0875770}"/>
              </a:ext>
            </a:extLst>
          </p:cNvPr>
          <p:cNvCxnSpPr/>
          <p:nvPr>
            <p:custDataLst>
              <p:tags r:id="rId124"/>
            </p:custDataLst>
          </p:nvPr>
        </p:nvCxnSpPr>
        <p:spPr bwMode="auto">
          <a:xfrm flipV="1">
            <a:off x="4679950" y="4621213"/>
            <a:ext cx="0" cy="301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8" name="Straight Connector 827">
            <a:extLst>
              <a:ext uri="{FF2B5EF4-FFF2-40B4-BE49-F238E27FC236}">
                <a16:creationId xmlns="" xmlns:a16="http://schemas.microsoft.com/office/drawing/2014/main" id="{971F2D6E-AB46-4CA9-A17F-37ACFDE944F1}"/>
              </a:ext>
            </a:extLst>
          </p:cNvPr>
          <p:cNvCxnSpPr/>
          <p:nvPr>
            <p:custDataLst>
              <p:tags r:id="rId125"/>
            </p:custDataLst>
          </p:nvPr>
        </p:nvCxnSpPr>
        <p:spPr bwMode="auto">
          <a:xfrm flipV="1">
            <a:off x="6577013" y="3713163"/>
            <a:ext cx="0" cy="285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3" name="Straight Connector 792">
            <a:extLst>
              <a:ext uri="{FF2B5EF4-FFF2-40B4-BE49-F238E27FC236}">
                <a16:creationId xmlns="" xmlns:a16="http://schemas.microsoft.com/office/drawing/2014/main" id="{640A7A10-EF86-4568-83AF-FDECBD9D1478}"/>
              </a:ext>
            </a:extLst>
          </p:cNvPr>
          <p:cNvCxnSpPr/>
          <p:nvPr>
            <p:custDataLst>
              <p:tags r:id="rId126"/>
            </p:custDataLst>
          </p:nvPr>
        </p:nvCxnSpPr>
        <p:spPr bwMode="auto">
          <a:xfrm flipV="1">
            <a:off x="4745038" y="4591050"/>
            <a:ext cx="0" cy="301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1" name="Straight Connector 890">
            <a:extLst>
              <a:ext uri="{FF2B5EF4-FFF2-40B4-BE49-F238E27FC236}">
                <a16:creationId xmlns="" xmlns:a16="http://schemas.microsoft.com/office/drawing/2014/main" id="{D5DCE14D-F2EF-4460-BE69-863800CF32FE}"/>
              </a:ext>
            </a:extLst>
          </p:cNvPr>
          <p:cNvCxnSpPr/>
          <p:nvPr>
            <p:custDataLst>
              <p:tags r:id="rId127"/>
            </p:custDataLst>
          </p:nvPr>
        </p:nvCxnSpPr>
        <p:spPr bwMode="auto">
          <a:xfrm flipV="1">
            <a:off x="8604250" y="3038475"/>
            <a:ext cx="0" cy="142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4" name="Straight Connector 793">
            <a:extLst>
              <a:ext uri="{FF2B5EF4-FFF2-40B4-BE49-F238E27FC236}">
                <a16:creationId xmlns="" xmlns:a16="http://schemas.microsoft.com/office/drawing/2014/main" id="{07D7CE5C-CE6D-48D8-B8C9-134FEFA8EEA9}"/>
              </a:ext>
            </a:extLst>
          </p:cNvPr>
          <p:cNvCxnSpPr/>
          <p:nvPr>
            <p:custDataLst>
              <p:tags r:id="rId128"/>
            </p:custDataLst>
          </p:nvPr>
        </p:nvCxnSpPr>
        <p:spPr bwMode="auto">
          <a:xfrm flipV="1">
            <a:off x="4811713" y="4559300"/>
            <a:ext cx="0" cy="31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5" name="Straight Connector 794">
            <a:extLst>
              <a:ext uri="{FF2B5EF4-FFF2-40B4-BE49-F238E27FC236}">
                <a16:creationId xmlns="" xmlns:a16="http://schemas.microsoft.com/office/drawing/2014/main" id="{9775EBAF-794B-4E88-BE71-D081C23605AE}"/>
              </a:ext>
            </a:extLst>
          </p:cNvPr>
          <p:cNvCxnSpPr/>
          <p:nvPr>
            <p:custDataLst>
              <p:tags r:id="rId129"/>
            </p:custDataLst>
          </p:nvPr>
        </p:nvCxnSpPr>
        <p:spPr bwMode="auto">
          <a:xfrm flipV="1">
            <a:off x="4876800" y="4529138"/>
            <a:ext cx="0" cy="301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6" name="Straight Connector 795">
            <a:extLst>
              <a:ext uri="{FF2B5EF4-FFF2-40B4-BE49-F238E27FC236}">
                <a16:creationId xmlns="" xmlns:a16="http://schemas.microsoft.com/office/drawing/2014/main" id="{61FE0606-7830-4097-8585-481E3B0B44FD}"/>
              </a:ext>
            </a:extLst>
          </p:cNvPr>
          <p:cNvCxnSpPr/>
          <p:nvPr>
            <p:custDataLst>
              <p:tags r:id="rId130"/>
            </p:custDataLst>
          </p:nvPr>
        </p:nvCxnSpPr>
        <p:spPr bwMode="auto">
          <a:xfrm flipV="1">
            <a:off x="4941888" y="4498975"/>
            <a:ext cx="0" cy="301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7" name="Straight Connector 796">
            <a:extLst>
              <a:ext uri="{FF2B5EF4-FFF2-40B4-BE49-F238E27FC236}">
                <a16:creationId xmlns="" xmlns:a16="http://schemas.microsoft.com/office/drawing/2014/main" id="{0323EF87-16A9-40E8-A32B-657EC015268D}"/>
              </a:ext>
            </a:extLst>
          </p:cNvPr>
          <p:cNvCxnSpPr/>
          <p:nvPr>
            <p:custDataLst>
              <p:tags r:id="rId131"/>
            </p:custDataLst>
          </p:nvPr>
        </p:nvCxnSpPr>
        <p:spPr bwMode="auto">
          <a:xfrm flipV="1">
            <a:off x="5006975" y="4467225"/>
            <a:ext cx="0" cy="31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8" name="Straight Connector 897">
            <a:extLst>
              <a:ext uri="{FF2B5EF4-FFF2-40B4-BE49-F238E27FC236}">
                <a16:creationId xmlns="" xmlns:a16="http://schemas.microsoft.com/office/drawing/2014/main" id="{C8A81533-A422-4B12-841B-9C3FE4C2ACCB}"/>
              </a:ext>
            </a:extLst>
          </p:cNvPr>
          <p:cNvCxnSpPr/>
          <p:nvPr>
            <p:custDataLst>
              <p:tags r:id="rId132"/>
            </p:custDataLst>
          </p:nvPr>
        </p:nvCxnSpPr>
        <p:spPr bwMode="auto">
          <a:xfrm flipV="1">
            <a:off x="8866188" y="2982913"/>
            <a:ext cx="0" cy="127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8" name="Straight Connector 797">
            <a:extLst>
              <a:ext uri="{FF2B5EF4-FFF2-40B4-BE49-F238E27FC236}">
                <a16:creationId xmlns="" xmlns:a16="http://schemas.microsoft.com/office/drawing/2014/main" id="{0EB1EBC3-BBEA-4E55-86B6-D1FA2317F5EC}"/>
              </a:ext>
            </a:extLst>
          </p:cNvPr>
          <p:cNvCxnSpPr/>
          <p:nvPr>
            <p:custDataLst>
              <p:tags r:id="rId133"/>
            </p:custDataLst>
          </p:nvPr>
        </p:nvCxnSpPr>
        <p:spPr bwMode="auto">
          <a:xfrm flipV="1">
            <a:off x="5072063" y="4437063"/>
            <a:ext cx="0" cy="301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9" name="Straight Connector 798">
            <a:extLst>
              <a:ext uri="{FF2B5EF4-FFF2-40B4-BE49-F238E27FC236}">
                <a16:creationId xmlns="" xmlns:a16="http://schemas.microsoft.com/office/drawing/2014/main" id="{FBB15A20-691A-431F-887A-38D69B57CD56}"/>
              </a:ext>
            </a:extLst>
          </p:cNvPr>
          <p:cNvCxnSpPr/>
          <p:nvPr>
            <p:custDataLst>
              <p:tags r:id="rId134"/>
            </p:custDataLst>
          </p:nvPr>
        </p:nvCxnSpPr>
        <p:spPr bwMode="auto">
          <a:xfrm flipV="1">
            <a:off x="5138738" y="4405313"/>
            <a:ext cx="0" cy="31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0" name="Straight Connector 799">
            <a:extLst>
              <a:ext uri="{FF2B5EF4-FFF2-40B4-BE49-F238E27FC236}">
                <a16:creationId xmlns="" xmlns:a16="http://schemas.microsoft.com/office/drawing/2014/main" id="{CA4E30D3-30E7-4AAA-9AB4-D0860A3B8F0A}"/>
              </a:ext>
            </a:extLst>
          </p:cNvPr>
          <p:cNvCxnSpPr/>
          <p:nvPr>
            <p:custDataLst>
              <p:tags r:id="rId135"/>
            </p:custDataLst>
          </p:nvPr>
        </p:nvCxnSpPr>
        <p:spPr bwMode="auto">
          <a:xfrm flipV="1">
            <a:off x="5203825" y="4373563"/>
            <a:ext cx="0" cy="31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1" name="Straight Connector 800">
            <a:extLst>
              <a:ext uri="{FF2B5EF4-FFF2-40B4-BE49-F238E27FC236}">
                <a16:creationId xmlns="" xmlns:a16="http://schemas.microsoft.com/office/drawing/2014/main" id="{1528EBBA-95D0-4357-B98D-9523C56DE7B4}"/>
              </a:ext>
            </a:extLst>
          </p:cNvPr>
          <p:cNvCxnSpPr/>
          <p:nvPr>
            <p:custDataLst>
              <p:tags r:id="rId136"/>
            </p:custDataLst>
          </p:nvPr>
        </p:nvCxnSpPr>
        <p:spPr bwMode="auto">
          <a:xfrm flipV="1">
            <a:off x="5268913" y="4341813"/>
            <a:ext cx="0" cy="31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2" name="Straight Connector 801">
            <a:extLst>
              <a:ext uri="{FF2B5EF4-FFF2-40B4-BE49-F238E27FC236}">
                <a16:creationId xmlns="" xmlns:a16="http://schemas.microsoft.com/office/drawing/2014/main" id="{26BF6EA1-DCB2-48B9-B2D4-5A16834A94BD}"/>
              </a:ext>
            </a:extLst>
          </p:cNvPr>
          <p:cNvCxnSpPr/>
          <p:nvPr>
            <p:custDataLst>
              <p:tags r:id="rId137"/>
            </p:custDataLst>
          </p:nvPr>
        </p:nvCxnSpPr>
        <p:spPr bwMode="auto">
          <a:xfrm flipV="1">
            <a:off x="5334000" y="4310063"/>
            <a:ext cx="0" cy="31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7" name="Straight Connector 906">
            <a:extLst>
              <a:ext uri="{FF2B5EF4-FFF2-40B4-BE49-F238E27FC236}">
                <a16:creationId xmlns="" xmlns:a16="http://schemas.microsoft.com/office/drawing/2014/main" id="{2EA7668A-EDA6-4364-B8DD-993BA979CAFE}"/>
              </a:ext>
            </a:extLst>
          </p:cNvPr>
          <p:cNvCxnSpPr/>
          <p:nvPr>
            <p:custDataLst>
              <p:tags r:id="rId138"/>
            </p:custDataLst>
          </p:nvPr>
        </p:nvCxnSpPr>
        <p:spPr bwMode="auto">
          <a:xfrm flipV="1">
            <a:off x="9126538" y="2933700"/>
            <a:ext cx="0" cy="111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2" name="Straight Connector 871">
            <a:extLst>
              <a:ext uri="{FF2B5EF4-FFF2-40B4-BE49-F238E27FC236}">
                <a16:creationId xmlns="" xmlns:a16="http://schemas.microsoft.com/office/drawing/2014/main" id="{489CCE9A-210C-4346-99E5-11D41DA50D0E}"/>
              </a:ext>
            </a:extLst>
          </p:cNvPr>
          <p:cNvCxnSpPr/>
          <p:nvPr>
            <p:custDataLst>
              <p:tags r:id="rId139"/>
            </p:custDataLst>
          </p:nvPr>
        </p:nvCxnSpPr>
        <p:spPr bwMode="auto">
          <a:xfrm flipV="1">
            <a:off x="8015288" y="3189288"/>
            <a:ext cx="0" cy="190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3" name="Straight Connector 802">
            <a:extLst>
              <a:ext uri="{FF2B5EF4-FFF2-40B4-BE49-F238E27FC236}">
                <a16:creationId xmlns="" xmlns:a16="http://schemas.microsoft.com/office/drawing/2014/main" id="{2DF63E25-0372-4A57-A565-50C7CAD13C7D}"/>
              </a:ext>
            </a:extLst>
          </p:cNvPr>
          <p:cNvCxnSpPr/>
          <p:nvPr>
            <p:custDataLst>
              <p:tags r:id="rId140"/>
            </p:custDataLst>
          </p:nvPr>
        </p:nvCxnSpPr>
        <p:spPr bwMode="auto">
          <a:xfrm flipV="1">
            <a:off x="5399088" y="4278313"/>
            <a:ext cx="0" cy="31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4" name="Straight Connector 823">
            <a:extLst>
              <a:ext uri="{FF2B5EF4-FFF2-40B4-BE49-F238E27FC236}">
                <a16:creationId xmlns="" xmlns:a16="http://schemas.microsoft.com/office/drawing/2014/main" id="{6C6BA815-D783-4771-AB98-686F247B92BD}"/>
              </a:ext>
            </a:extLst>
          </p:cNvPr>
          <p:cNvCxnSpPr/>
          <p:nvPr>
            <p:custDataLst>
              <p:tags r:id="rId141"/>
            </p:custDataLst>
          </p:nvPr>
        </p:nvCxnSpPr>
        <p:spPr bwMode="auto">
          <a:xfrm flipV="1">
            <a:off x="6445250" y="3770313"/>
            <a:ext cx="0" cy="285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4" name="Straight Connector 803">
            <a:extLst>
              <a:ext uri="{FF2B5EF4-FFF2-40B4-BE49-F238E27FC236}">
                <a16:creationId xmlns="" xmlns:a16="http://schemas.microsoft.com/office/drawing/2014/main" id="{358763B5-8E2E-4C80-97ED-9B0F0713D37E}"/>
              </a:ext>
            </a:extLst>
          </p:cNvPr>
          <p:cNvCxnSpPr/>
          <p:nvPr>
            <p:custDataLst>
              <p:tags r:id="rId142"/>
            </p:custDataLst>
          </p:nvPr>
        </p:nvCxnSpPr>
        <p:spPr bwMode="auto">
          <a:xfrm flipV="1">
            <a:off x="5465763" y="4244975"/>
            <a:ext cx="0" cy="333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9" name="Straight Connector 1218">
            <a:extLst>
              <a:ext uri="{FF2B5EF4-FFF2-40B4-BE49-F238E27FC236}">
                <a16:creationId xmlns="" xmlns:a16="http://schemas.microsoft.com/office/drawing/2014/main" id="{658E1884-F265-4553-863E-257E9AFE2BF4}"/>
              </a:ext>
            </a:extLst>
          </p:cNvPr>
          <p:cNvCxnSpPr/>
          <p:nvPr>
            <p:custDataLst>
              <p:tags r:id="rId143"/>
            </p:custDataLst>
          </p:nvPr>
        </p:nvCxnSpPr>
        <p:spPr bwMode="auto">
          <a:xfrm flipV="1">
            <a:off x="11218863" y="2732088"/>
            <a:ext cx="0" cy="15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5" name="Straight Connector 804">
            <a:extLst>
              <a:ext uri="{FF2B5EF4-FFF2-40B4-BE49-F238E27FC236}">
                <a16:creationId xmlns="" xmlns:a16="http://schemas.microsoft.com/office/drawing/2014/main" id="{E07E7CA0-592E-4BE2-8154-F2581EB24EAA}"/>
              </a:ext>
            </a:extLst>
          </p:cNvPr>
          <p:cNvCxnSpPr/>
          <p:nvPr>
            <p:custDataLst>
              <p:tags r:id="rId144"/>
            </p:custDataLst>
          </p:nvPr>
        </p:nvCxnSpPr>
        <p:spPr bwMode="auto">
          <a:xfrm flipV="1">
            <a:off x="5530850" y="4211638"/>
            <a:ext cx="0" cy="333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6" name="Straight Connector 805">
            <a:extLst>
              <a:ext uri="{FF2B5EF4-FFF2-40B4-BE49-F238E27FC236}">
                <a16:creationId xmlns="" xmlns:a16="http://schemas.microsoft.com/office/drawing/2014/main" id="{0AEB0B14-E41E-41BD-A952-CF741CBB5F63}"/>
              </a:ext>
            </a:extLst>
          </p:cNvPr>
          <p:cNvCxnSpPr/>
          <p:nvPr>
            <p:custDataLst>
              <p:tags r:id="rId145"/>
            </p:custDataLst>
          </p:nvPr>
        </p:nvCxnSpPr>
        <p:spPr bwMode="auto">
          <a:xfrm flipV="1">
            <a:off x="5595938" y="4179888"/>
            <a:ext cx="0" cy="31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8" name="Straight Connector 807">
            <a:extLst>
              <a:ext uri="{FF2B5EF4-FFF2-40B4-BE49-F238E27FC236}">
                <a16:creationId xmlns="" xmlns:a16="http://schemas.microsoft.com/office/drawing/2014/main" id="{577C77CF-D918-47CE-A90E-54DF213A8B72}"/>
              </a:ext>
            </a:extLst>
          </p:cNvPr>
          <p:cNvCxnSpPr/>
          <p:nvPr>
            <p:custDataLst>
              <p:tags r:id="rId146"/>
            </p:custDataLst>
          </p:nvPr>
        </p:nvCxnSpPr>
        <p:spPr bwMode="auto">
          <a:xfrm flipV="1">
            <a:off x="5726113" y="4114800"/>
            <a:ext cx="0" cy="31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0" name="Straight Connector 809">
            <a:extLst>
              <a:ext uri="{FF2B5EF4-FFF2-40B4-BE49-F238E27FC236}">
                <a16:creationId xmlns="" xmlns:a16="http://schemas.microsoft.com/office/drawing/2014/main" id="{87D5F898-9BA3-43C4-8DD4-3942DB1FE3E1}"/>
              </a:ext>
            </a:extLst>
          </p:cNvPr>
          <p:cNvCxnSpPr/>
          <p:nvPr>
            <p:custDataLst>
              <p:tags r:id="rId147"/>
            </p:custDataLst>
          </p:nvPr>
        </p:nvCxnSpPr>
        <p:spPr bwMode="auto">
          <a:xfrm flipV="1">
            <a:off x="5857875" y="4048125"/>
            <a:ext cx="0" cy="333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7" name="Straight Connector 876">
            <a:extLst>
              <a:ext uri="{FF2B5EF4-FFF2-40B4-BE49-F238E27FC236}">
                <a16:creationId xmlns="" xmlns:a16="http://schemas.microsoft.com/office/drawing/2014/main" id="{A5762168-050D-4873-876D-11E519AC265D}"/>
              </a:ext>
            </a:extLst>
          </p:cNvPr>
          <p:cNvCxnSpPr/>
          <p:nvPr>
            <p:custDataLst>
              <p:tags r:id="rId148"/>
            </p:custDataLst>
          </p:nvPr>
        </p:nvCxnSpPr>
        <p:spPr bwMode="auto">
          <a:xfrm flipV="1">
            <a:off x="8145463" y="3152775"/>
            <a:ext cx="0" cy="174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1" name="Straight Connector 810">
            <a:extLst>
              <a:ext uri="{FF2B5EF4-FFF2-40B4-BE49-F238E27FC236}">
                <a16:creationId xmlns="" xmlns:a16="http://schemas.microsoft.com/office/drawing/2014/main" id="{ED69E811-30FD-481F-B37D-E15725F8CE48}"/>
              </a:ext>
            </a:extLst>
          </p:cNvPr>
          <p:cNvCxnSpPr/>
          <p:nvPr>
            <p:custDataLst>
              <p:tags r:id="rId149"/>
            </p:custDataLst>
          </p:nvPr>
        </p:nvCxnSpPr>
        <p:spPr bwMode="auto">
          <a:xfrm flipV="1">
            <a:off x="5922963" y="4016375"/>
            <a:ext cx="0" cy="31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3" name="Straight Connector 812">
            <a:extLst>
              <a:ext uri="{FF2B5EF4-FFF2-40B4-BE49-F238E27FC236}">
                <a16:creationId xmlns="" xmlns:a16="http://schemas.microsoft.com/office/drawing/2014/main" id="{007073F7-525C-44F1-98F2-3AAAB879FA2C}"/>
              </a:ext>
            </a:extLst>
          </p:cNvPr>
          <p:cNvCxnSpPr/>
          <p:nvPr>
            <p:custDataLst>
              <p:tags r:id="rId150"/>
            </p:custDataLst>
          </p:nvPr>
        </p:nvCxnSpPr>
        <p:spPr bwMode="auto">
          <a:xfrm flipV="1">
            <a:off x="6053138" y="3952875"/>
            <a:ext cx="0" cy="31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0" name="Straight Connector 869">
            <a:extLst>
              <a:ext uri="{FF2B5EF4-FFF2-40B4-BE49-F238E27FC236}">
                <a16:creationId xmlns="" xmlns:a16="http://schemas.microsoft.com/office/drawing/2014/main" id="{007A5E75-EB11-4CDA-9E05-BB435EC609CD}"/>
              </a:ext>
            </a:extLst>
          </p:cNvPr>
          <p:cNvCxnSpPr/>
          <p:nvPr>
            <p:custDataLst>
              <p:tags r:id="rId151"/>
            </p:custDataLst>
          </p:nvPr>
        </p:nvCxnSpPr>
        <p:spPr bwMode="auto">
          <a:xfrm flipV="1">
            <a:off x="7950200" y="3208338"/>
            <a:ext cx="0" cy="190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4" name="Straight Connector 813">
            <a:extLst>
              <a:ext uri="{FF2B5EF4-FFF2-40B4-BE49-F238E27FC236}">
                <a16:creationId xmlns="" xmlns:a16="http://schemas.microsoft.com/office/drawing/2014/main" id="{37D0D754-C6D8-4F03-BC4C-7DA9FFCFB287}"/>
              </a:ext>
            </a:extLst>
          </p:cNvPr>
          <p:cNvCxnSpPr>
            <a:cxnSpLocks/>
          </p:cNvCxnSpPr>
          <p:nvPr>
            <p:custDataLst>
              <p:tags r:id="rId152"/>
            </p:custDataLst>
          </p:nvPr>
        </p:nvCxnSpPr>
        <p:spPr bwMode="auto">
          <a:xfrm flipV="1">
            <a:off x="6118225" y="3921125"/>
            <a:ext cx="0" cy="31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5" name="Straight Connector 814">
            <a:extLst>
              <a:ext uri="{FF2B5EF4-FFF2-40B4-BE49-F238E27FC236}">
                <a16:creationId xmlns="" xmlns:a16="http://schemas.microsoft.com/office/drawing/2014/main" id="{58A94285-4616-4BB8-B61F-F1016436CE5D}"/>
              </a:ext>
            </a:extLst>
          </p:cNvPr>
          <p:cNvCxnSpPr/>
          <p:nvPr>
            <p:custDataLst>
              <p:tags r:id="rId153"/>
            </p:custDataLst>
          </p:nvPr>
        </p:nvCxnSpPr>
        <p:spPr bwMode="auto">
          <a:xfrm flipV="1">
            <a:off x="6118225" y="3921125"/>
            <a:ext cx="0" cy="21637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6" name="Straight Connector 815">
            <a:extLst>
              <a:ext uri="{FF2B5EF4-FFF2-40B4-BE49-F238E27FC236}">
                <a16:creationId xmlns="" xmlns:a16="http://schemas.microsoft.com/office/drawing/2014/main" id="{B907B1C8-A16D-4424-85A7-D5EFFABD1FC2}"/>
              </a:ext>
            </a:extLst>
          </p:cNvPr>
          <p:cNvCxnSpPr/>
          <p:nvPr>
            <p:custDataLst>
              <p:tags r:id="rId154"/>
            </p:custDataLst>
          </p:nvPr>
        </p:nvCxnSpPr>
        <p:spPr bwMode="auto">
          <a:xfrm flipV="1">
            <a:off x="6184900" y="3889375"/>
            <a:ext cx="0" cy="31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2" name="Straight Connector 961">
            <a:extLst>
              <a:ext uri="{FF2B5EF4-FFF2-40B4-BE49-F238E27FC236}">
                <a16:creationId xmlns="" xmlns:a16="http://schemas.microsoft.com/office/drawing/2014/main" id="{F6EA6546-225B-4E64-B644-8384542FFFC4}"/>
              </a:ext>
            </a:extLst>
          </p:cNvPr>
          <p:cNvCxnSpPr/>
          <p:nvPr>
            <p:custDataLst>
              <p:tags r:id="rId155"/>
            </p:custDataLst>
          </p:nvPr>
        </p:nvCxnSpPr>
        <p:spPr bwMode="auto">
          <a:xfrm flipV="1">
            <a:off x="10958513" y="2741613"/>
            <a:ext cx="0" cy="3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7" name="Straight Connector 956">
            <a:extLst>
              <a:ext uri="{FF2B5EF4-FFF2-40B4-BE49-F238E27FC236}">
                <a16:creationId xmlns="" xmlns:a16="http://schemas.microsoft.com/office/drawing/2014/main" id="{94ECB1C3-33F0-4D7E-9D7A-5B315238B5C0}"/>
              </a:ext>
            </a:extLst>
          </p:cNvPr>
          <p:cNvCxnSpPr/>
          <p:nvPr>
            <p:custDataLst>
              <p:tags r:id="rId156"/>
            </p:custDataLst>
          </p:nvPr>
        </p:nvCxnSpPr>
        <p:spPr bwMode="auto">
          <a:xfrm flipV="1">
            <a:off x="10761663" y="2751138"/>
            <a:ext cx="0" cy="3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7" name="Straight Connector 816">
            <a:extLst>
              <a:ext uri="{FF2B5EF4-FFF2-40B4-BE49-F238E27FC236}">
                <a16:creationId xmlns="" xmlns:a16="http://schemas.microsoft.com/office/drawing/2014/main" id="{B1B9BEBF-F686-4B99-BF2E-98B0FD12C3A9}"/>
              </a:ext>
            </a:extLst>
          </p:cNvPr>
          <p:cNvCxnSpPr/>
          <p:nvPr>
            <p:custDataLst>
              <p:tags r:id="rId157"/>
            </p:custDataLst>
          </p:nvPr>
        </p:nvCxnSpPr>
        <p:spPr bwMode="auto">
          <a:xfrm flipV="1">
            <a:off x="6184900" y="3889375"/>
            <a:ext cx="0" cy="31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9" name="Straight Connector 858">
            <a:extLst>
              <a:ext uri="{FF2B5EF4-FFF2-40B4-BE49-F238E27FC236}">
                <a16:creationId xmlns="" xmlns:a16="http://schemas.microsoft.com/office/drawing/2014/main" id="{AB7AF8B8-CC6C-472C-8189-3A95680AFBB5}"/>
              </a:ext>
            </a:extLst>
          </p:cNvPr>
          <p:cNvCxnSpPr/>
          <p:nvPr>
            <p:custDataLst>
              <p:tags r:id="rId158"/>
            </p:custDataLst>
          </p:nvPr>
        </p:nvCxnSpPr>
        <p:spPr bwMode="auto">
          <a:xfrm flipV="1">
            <a:off x="7558088" y="3332163"/>
            <a:ext cx="0" cy="222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3" name="Straight Connector 852">
            <a:extLst>
              <a:ext uri="{FF2B5EF4-FFF2-40B4-BE49-F238E27FC236}">
                <a16:creationId xmlns="" xmlns:a16="http://schemas.microsoft.com/office/drawing/2014/main" id="{A1542AA9-F881-458D-90EA-C8F85F0A5322}"/>
              </a:ext>
            </a:extLst>
          </p:cNvPr>
          <p:cNvCxnSpPr/>
          <p:nvPr>
            <p:custDataLst>
              <p:tags r:id="rId159"/>
            </p:custDataLst>
          </p:nvPr>
        </p:nvCxnSpPr>
        <p:spPr bwMode="auto">
          <a:xfrm flipV="1">
            <a:off x="7361238" y="3400425"/>
            <a:ext cx="0" cy="23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8" name="Straight Connector 817">
            <a:extLst>
              <a:ext uri="{FF2B5EF4-FFF2-40B4-BE49-F238E27FC236}">
                <a16:creationId xmlns="" xmlns:a16="http://schemas.microsoft.com/office/drawing/2014/main" id="{B44C1483-6D4A-4603-B976-6609810EB63C}"/>
              </a:ext>
            </a:extLst>
          </p:cNvPr>
          <p:cNvCxnSpPr/>
          <p:nvPr>
            <p:custDataLst>
              <p:tags r:id="rId160"/>
            </p:custDataLst>
          </p:nvPr>
        </p:nvCxnSpPr>
        <p:spPr bwMode="auto">
          <a:xfrm flipV="1">
            <a:off x="6249988" y="3863975"/>
            <a:ext cx="0" cy="254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9" name="Straight Connector 818">
            <a:extLst>
              <a:ext uri="{FF2B5EF4-FFF2-40B4-BE49-F238E27FC236}">
                <a16:creationId xmlns="" xmlns:a16="http://schemas.microsoft.com/office/drawing/2014/main" id="{2AA8A8E7-696D-4D07-86AA-573B8711B9E2}"/>
              </a:ext>
            </a:extLst>
          </p:cNvPr>
          <p:cNvCxnSpPr/>
          <p:nvPr>
            <p:custDataLst>
              <p:tags r:id="rId161"/>
            </p:custDataLst>
          </p:nvPr>
        </p:nvCxnSpPr>
        <p:spPr bwMode="auto">
          <a:xfrm flipV="1">
            <a:off x="6249988" y="3863975"/>
            <a:ext cx="0" cy="254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2" name="Straight Connector 821">
            <a:extLst>
              <a:ext uri="{FF2B5EF4-FFF2-40B4-BE49-F238E27FC236}">
                <a16:creationId xmlns="" xmlns:a16="http://schemas.microsoft.com/office/drawing/2014/main" id="{3DC9A30D-EC63-4422-8BFE-B6BC65F856DF}"/>
              </a:ext>
            </a:extLst>
          </p:cNvPr>
          <p:cNvCxnSpPr/>
          <p:nvPr>
            <p:custDataLst>
              <p:tags r:id="rId162"/>
            </p:custDataLst>
          </p:nvPr>
        </p:nvCxnSpPr>
        <p:spPr bwMode="auto">
          <a:xfrm flipV="1">
            <a:off x="6380163" y="3798888"/>
            <a:ext cx="0" cy="301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3" name="Straight Connector 822">
            <a:extLst>
              <a:ext uri="{FF2B5EF4-FFF2-40B4-BE49-F238E27FC236}">
                <a16:creationId xmlns="" xmlns:a16="http://schemas.microsoft.com/office/drawing/2014/main" id="{9BC76535-93D4-49FE-98CF-CDB523B26BA6}"/>
              </a:ext>
            </a:extLst>
          </p:cNvPr>
          <p:cNvCxnSpPr/>
          <p:nvPr>
            <p:custDataLst>
              <p:tags r:id="rId163"/>
            </p:custDataLst>
          </p:nvPr>
        </p:nvCxnSpPr>
        <p:spPr bwMode="auto">
          <a:xfrm flipV="1">
            <a:off x="6380163" y="3798888"/>
            <a:ext cx="0" cy="301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6" name="Straight Connector 825">
            <a:extLst>
              <a:ext uri="{FF2B5EF4-FFF2-40B4-BE49-F238E27FC236}">
                <a16:creationId xmlns="" xmlns:a16="http://schemas.microsoft.com/office/drawing/2014/main" id="{9A1E6643-BEA2-454D-9CAD-C58B3CAC02D9}"/>
              </a:ext>
            </a:extLst>
          </p:cNvPr>
          <p:cNvCxnSpPr/>
          <p:nvPr>
            <p:custDataLst>
              <p:tags r:id="rId164"/>
            </p:custDataLst>
          </p:nvPr>
        </p:nvCxnSpPr>
        <p:spPr bwMode="auto">
          <a:xfrm flipV="1">
            <a:off x="6511925" y="3741738"/>
            <a:ext cx="0" cy="285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7" name="Straight Connector 826">
            <a:extLst>
              <a:ext uri="{FF2B5EF4-FFF2-40B4-BE49-F238E27FC236}">
                <a16:creationId xmlns="" xmlns:a16="http://schemas.microsoft.com/office/drawing/2014/main" id="{4EAB416C-E03B-4DA6-AEDF-124C8BD1DB9A}"/>
              </a:ext>
            </a:extLst>
          </p:cNvPr>
          <p:cNvCxnSpPr/>
          <p:nvPr>
            <p:custDataLst>
              <p:tags r:id="rId165"/>
            </p:custDataLst>
          </p:nvPr>
        </p:nvCxnSpPr>
        <p:spPr bwMode="auto">
          <a:xfrm flipV="1">
            <a:off x="6511925" y="3741738"/>
            <a:ext cx="0" cy="285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9" name="Straight Connector 908">
            <a:extLst>
              <a:ext uri="{FF2B5EF4-FFF2-40B4-BE49-F238E27FC236}">
                <a16:creationId xmlns="" xmlns:a16="http://schemas.microsoft.com/office/drawing/2014/main" id="{7AF0E006-CF3D-4EB4-8183-242C4EF00D3F}"/>
              </a:ext>
            </a:extLst>
          </p:cNvPr>
          <p:cNvCxnSpPr/>
          <p:nvPr>
            <p:custDataLst>
              <p:tags r:id="rId166"/>
            </p:custDataLst>
          </p:nvPr>
        </p:nvCxnSpPr>
        <p:spPr bwMode="auto">
          <a:xfrm flipV="1">
            <a:off x="9191625" y="2922588"/>
            <a:ext cx="0" cy="111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9" name="Straight Connector 828">
            <a:extLst>
              <a:ext uri="{FF2B5EF4-FFF2-40B4-BE49-F238E27FC236}">
                <a16:creationId xmlns="" xmlns:a16="http://schemas.microsoft.com/office/drawing/2014/main" id="{2B815CC6-7671-435D-AC5B-1F438AEEB856}"/>
              </a:ext>
            </a:extLst>
          </p:cNvPr>
          <p:cNvCxnSpPr/>
          <p:nvPr>
            <p:custDataLst>
              <p:tags r:id="rId167"/>
            </p:custDataLst>
          </p:nvPr>
        </p:nvCxnSpPr>
        <p:spPr bwMode="auto">
          <a:xfrm flipV="1">
            <a:off x="6577013" y="3713163"/>
            <a:ext cx="0" cy="285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0" name="Straight Connector 829">
            <a:extLst>
              <a:ext uri="{FF2B5EF4-FFF2-40B4-BE49-F238E27FC236}">
                <a16:creationId xmlns="" xmlns:a16="http://schemas.microsoft.com/office/drawing/2014/main" id="{97A6556A-13D4-4B71-87E7-CDFACB4B6C6F}"/>
              </a:ext>
            </a:extLst>
          </p:cNvPr>
          <p:cNvCxnSpPr/>
          <p:nvPr>
            <p:custDataLst>
              <p:tags r:id="rId168"/>
            </p:custDataLst>
          </p:nvPr>
        </p:nvCxnSpPr>
        <p:spPr bwMode="auto">
          <a:xfrm flipV="1">
            <a:off x="6642100" y="3684588"/>
            <a:ext cx="0" cy="285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1" name="Straight Connector 830">
            <a:extLst>
              <a:ext uri="{FF2B5EF4-FFF2-40B4-BE49-F238E27FC236}">
                <a16:creationId xmlns="" xmlns:a16="http://schemas.microsoft.com/office/drawing/2014/main" id="{45743A8B-A95D-4011-AFCF-6B065358823F}"/>
              </a:ext>
            </a:extLst>
          </p:cNvPr>
          <p:cNvCxnSpPr/>
          <p:nvPr>
            <p:custDataLst>
              <p:tags r:id="rId169"/>
            </p:custDataLst>
          </p:nvPr>
        </p:nvCxnSpPr>
        <p:spPr bwMode="auto">
          <a:xfrm flipV="1">
            <a:off x="6642100" y="3684588"/>
            <a:ext cx="0" cy="285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4" name="Straight Connector 963">
            <a:extLst>
              <a:ext uri="{FF2B5EF4-FFF2-40B4-BE49-F238E27FC236}">
                <a16:creationId xmlns="" xmlns:a16="http://schemas.microsoft.com/office/drawing/2014/main" id="{7ED6BBB2-378B-4034-B00C-D80F857D0A0F}"/>
              </a:ext>
            </a:extLst>
          </p:cNvPr>
          <p:cNvCxnSpPr/>
          <p:nvPr>
            <p:custDataLst>
              <p:tags r:id="rId170"/>
            </p:custDataLst>
          </p:nvPr>
        </p:nvCxnSpPr>
        <p:spPr bwMode="auto">
          <a:xfrm flipV="1">
            <a:off x="11023600" y="2738438"/>
            <a:ext cx="0" cy="3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5" name="Straight Connector 934">
            <a:extLst>
              <a:ext uri="{FF2B5EF4-FFF2-40B4-BE49-F238E27FC236}">
                <a16:creationId xmlns="" xmlns:a16="http://schemas.microsoft.com/office/drawing/2014/main" id="{4185CAF6-F9EA-4BE7-9334-801D9E5702A7}"/>
              </a:ext>
            </a:extLst>
          </p:cNvPr>
          <p:cNvCxnSpPr/>
          <p:nvPr>
            <p:custDataLst>
              <p:tags r:id="rId171"/>
            </p:custDataLst>
          </p:nvPr>
        </p:nvCxnSpPr>
        <p:spPr bwMode="auto">
          <a:xfrm flipV="1">
            <a:off x="10042525" y="2806700"/>
            <a:ext cx="0" cy="79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2" name="Straight Connector 831">
            <a:extLst>
              <a:ext uri="{FF2B5EF4-FFF2-40B4-BE49-F238E27FC236}">
                <a16:creationId xmlns="" xmlns:a16="http://schemas.microsoft.com/office/drawing/2014/main" id="{3161FF5C-90FB-42B2-B056-B89682187D48}"/>
              </a:ext>
            </a:extLst>
          </p:cNvPr>
          <p:cNvCxnSpPr/>
          <p:nvPr>
            <p:custDataLst>
              <p:tags r:id="rId172"/>
            </p:custDataLst>
          </p:nvPr>
        </p:nvCxnSpPr>
        <p:spPr bwMode="auto">
          <a:xfrm flipV="1">
            <a:off x="6707188" y="3657600"/>
            <a:ext cx="0" cy="269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3" name="Straight Connector 832">
            <a:extLst>
              <a:ext uri="{FF2B5EF4-FFF2-40B4-BE49-F238E27FC236}">
                <a16:creationId xmlns="" xmlns:a16="http://schemas.microsoft.com/office/drawing/2014/main" id="{3D6470D4-A4D0-40E8-A614-5EE16311CAEF}"/>
              </a:ext>
            </a:extLst>
          </p:cNvPr>
          <p:cNvCxnSpPr/>
          <p:nvPr>
            <p:custDataLst>
              <p:tags r:id="rId173"/>
            </p:custDataLst>
          </p:nvPr>
        </p:nvCxnSpPr>
        <p:spPr bwMode="auto">
          <a:xfrm flipV="1">
            <a:off x="6707188" y="3657600"/>
            <a:ext cx="0" cy="269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4" name="Straight Connector 833">
            <a:extLst>
              <a:ext uri="{FF2B5EF4-FFF2-40B4-BE49-F238E27FC236}">
                <a16:creationId xmlns="" xmlns:a16="http://schemas.microsoft.com/office/drawing/2014/main" id="{A3536D74-9753-4485-8892-F3DB6D6F50E4}"/>
              </a:ext>
            </a:extLst>
          </p:cNvPr>
          <p:cNvCxnSpPr/>
          <p:nvPr>
            <p:custDataLst>
              <p:tags r:id="rId174"/>
            </p:custDataLst>
          </p:nvPr>
        </p:nvCxnSpPr>
        <p:spPr bwMode="auto">
          <a:xfrm flipV="1">
            <a:off x="6772275" y="3629025"/>
            <a:ext cx="0" cy="285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5" name="Straight Connector 834">
            <a:extLst>
              <a:ext uri="{FF2B5EF4-FFF2-40B4-BE49-F238E27FC236}">
                <a16:creationId xmlns="" xmlns:a16="http://schemas.microsoft.com/office/drawing/2014/main" id="{8453EDD4-FB52-4864-8025-45551AA87BF2}"/>
              </a:ext>
            </a:extLst>
          </p:cNvPr>
          <p:cNvCxnSpPr/>
          <p:nvPr>
            <p:custDataLst>
              <p:tags r:id="rId175"/>
            </p:custDataLst>
          </p:nvPr>
        </p:nvCxnSpPr>
        <p:spPr bwMode="auto">
          <a:xfrm flipV="1">
            <a:off x="6772275" y="3629025"/>
            <a:ext cx="0" cy="285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6" name="Straight Connector 835">
            <a:extLst>
              <a:ext uri="{FF2B5EF4-FFF2-40B4-BE49-F238E27FC236}">
                <a16:creationId xmlns="" xmlns:a16="http://schemas.microsoft.com/office/drawing/2014/main" id="{FC1B00C6-EAB2-4BA3-A08E-57A12B429FB2}"/>
              </a:ext>
            </a:extLst>
          </p:cNvPr>
          <p:cNvCxnSpPr/>
          <p:nvPr>
            <p:custDataLst>
              <p:tags r:id="rId176"/>
            </p:custDataLst>
          </p:nvPr>
        </p:nvCxnSpPr>
        <p:spPr bwMode="auto">
          <a:xfrm flipV="1">
            <a:off x="6838950" y="3602038"/>
            <a:ext cx="0" cy="269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4" name="Straight Connector 953">
            <a:extLst>
              <a:ext uri="{FF2B5EF4-FFF2-40B4-BE49-F238E27FC236}">
                <a16:creationId xmlns="" xmlns:a16="http://schemas.microsoft.com/office/drawing/2014/main" id="{A0EDA552-EE50-4F19-9324-A67B23FE99DD}"/>
              </a:ext>
            </a:extLst>
          </p:cNvPr>
          <p:cNvCxnSpPr/>
          <p:nvPr>
            <p:custDataLst>
              <p:tags r:id="rId177"/>
            </p:custDataLst>
          </p:nvPr>
        </p:nvCxnSpPr>
        <p:spPr bwMode="auto">
          <a:xfrm flipV="1">
            <a:off x="10696575" y="2754313"/>
            <a:ext cx="0" cy="47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7" name="Straight Connector 836">
            <a:extLst>
              <a:ext uri="{FF2B5EF4-FFF2-40B4-BE49-F238E27FC236}">
                <a16:creationId xmlns="" xmlns:a16="http://schemas.microsoft.com/office/drawing/2014/main" id="{07B43F92-538F-4996-A120-FB869219ECF4}"/>
              </a:ext>
            </a:extLst>
          </p:cNvPr>
          <p:cNvCxnSpPr/>
          <p:nvPr>
            <p:custDataLst>
              <p:tags r:id="rId178"/>
            </p:custDataLst>
          </p:nvPr>
        </p:nvCxnSpPr>
        <p:spPr bwMode="auto">
          <a:xfrm flipV="1">
            <a:off x="6838950" y="3602038"/>
            <a:ext cx="0" cy="269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9" name="Straight Connector 838">
            <a:extLst>
              <a:ext uri="{FF2B5EF4-FFF2-40B4-BE49-F238E27FC236}">
                <a16:creationId xmlns="" xmlns:a16="http://schemas.microsoft.com/office/drawing/2014/main" id="{2F54C1B3-BEE2-4866-9C3C-AFEABCAA9F4C}"/>
              </a:ext>
            </a:extLst>
          </p:cNvPr>
          <p:cNvCxnSpPr/>
          <p:nvPr>
            <p:custDataLst>
              <p:tags r:id="rId179"/>
            </p:custDataLst>
          </p:nvPr>
        </p:nvCxnSpPr>
        <p:spPr bwMode="auto">
          <a:xfrm flipV="1">
            <a:off x="6904038" y="3575050"/>
            <a:ext cx="0" cy="269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0" name="Straight Connector 839">
            <a:extLst>
              <a:ext uri="{FF2B5EF4-FFF2-40B4-BE49-F238E27FC236}">
                <a16:creationId xmlns="" xmlns:a16="http://schemas.microsoft.com/office/drawing/2014/main" id="{B8C01079-1F52-49E7-9456-45C6F9C03976}"/>
              </a:ext>
            </a:extLst>
          </p:cNvPr>
          <p:cNvCxnSpPr/>
          <p:nvPr>
            <p:custDataLst>
              <p:tags r:id="rId180"/>
            </p:custDataLst>
          </p:nvPr>
        </p:nvCxnSpPr>
        <p:spPr bwMode="auto">
          <a:xfrm flipV="1">
            <a:off x="6969125" y="3549650"/>
            <a:ext cx="0" cy="254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1" name="Straight Connector 840">
            <a:extLst>
              <a:ext uri="{FF2B5EF4-FFF2-40B4-BE49-F238E27FC236}">
                <a16:creationId xmlns="" xmlns:a16="http://schemas.microsoft.com/office/drawing/2014/main" id="{00C42CF6-5CF8-41D8-ADEC-23C65DFF7C90}"/>
              </a:ext>
            </a:extLst>
          </p:cNvPr>
          <p:cNvCxnSpPr/>
          <p:nvPr>
            <p:custDataLst>
              <p:tags r:id="rId181"/>
            </p:custDataLst>
          </p:nvPr>
        </p:nvCxnSpPr>
        <p:spPr bwMode="auto">
          <a:xfrm flipV="1">
            <a:off x="6969125" y="3549650"/>
            <a:ext cx="0" cy="254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2" name="Straight Connector 841">
            <a:extLst>
              <a:ext uri="{FF2B5EF4-FFF2-40B4-BE49-F238E27FC236}">
                <a16:creationId xmlns="" xmlns:a16="http://schemas.microsoft.com/office/drawing/2014/main" id="{67F1145C-71C3-4355-BE5E-89B9B6FD2820}"/>
              </a:ext>
            </a:extLst>
          </p:cNvPr>
          <p:cNvCxnSpPr/>
          <p:nvPr>
            <p:custDataLst>
              <p:tags r:id="rId182"/>
            </p:custDataLst>
          </p:nvPr>
        </p:nvCxnSpPr>
        <p:spPr bwMode="auto">
          <a:xfrm flipV="1">
            <a:off x="7034213" y="3524250"/>
            <a:ext cx="0" cy="254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4" name="Straight Connector 913">
            <a:extLst>
              <a:ext uri="{FF2B5EF4-FFF2-40B4-BE49-F238E27FC236}">
                <a16:creationId xmlns="" xmlns:a16="http://schemas.microsoft.com/office/drawing/2014/main" id="{A2EB73E2-31D2-4A6E-9A53-AAE9D4E2AFC7}"/>
              </a:ext>
            </a:extLst>
          </p:cNvPr>
          <p:cNvCxnSpPr/>
          <p:nvPr>
            <p:custDataLst>
              <p:tags r:id="rId183"/>
            </p:custDataLst>
          </p:nvPr>
        </p:nvCxnSpPr>
        <p:spPr bwMode="auto">
          <a:xfrm flipV="1">
            <a:off x="9388475" y="2890838"/>
            <a:ext cx="0" cy="9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7" name="Straight Connector 856">
            <a:extLst>
              <a:ext uri="{FF2B5EF4-FFF2-40B4-BE49-F238E27FC236}">
                <a16:creationId xmlns="" xmlns:a16="http://schemas.microsoft.com/office/drawing/2014/main" id="{9114DB79-F310-4886-AC2F-51C19DF6C637}"/>
              </a:ext>
            </a:extLst>
          </p:cNvPr>
          <p:cNvCxnSpPr/>
          <p:nvPr>
            <p:custDataLst>
              <p:tags r:id="rId184"/>
            </p:custDataLst>
          </p:nvPr>
        </p:nvCxnSpPr>
        <p:spPr bwMode="auto">
          <a:xfrm flipV="1">
            <a:off x="7491413" y="3354388"/>
            <a:ext cx="0" cy="23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5" name="Straight Connector 844">
            <a:extLst>
              <a:ext uri="{FF2B5EF4-FFF2-40B4-BE49-F238E27FC236}">
                <a16:creationId xmlns="" xmlns:a16="http://schemas.microsoft.com/office/drawing/2014/main" id="{1D13E295-DF83-43D4-8073-73626591B648}"/>
              </a:ext>
            </a:extLst>
          </p:cNvPr>
          <p:cNvCxnSpPr/>
          <p:nvPr>
            <p:custDataLst>
              <p:tags r:id="rId185"/>
            </p:custDataLst>
          </p:nvPr>
        </p:nvCxnSpPr>
        <p:spPr bwMode="auto">
          <a:xfrm flipV="1">
            <a:off x="7099300" y="3498850"/>
            <a:ext cx="0" cy="254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6" name="Straight Connector 845">
            <a:extLst>
              <a:ext uri="{FF2B5EF4-FFF2-40B4-BE49-F238E27FC236}">
                <a16:creationId xmlns="" xmlns:a16="http://schemas.microsoft.com/office/drawing/2014/main" id="{EF2729CE-514D-4399-ABFA-24C27102025E}"/>
              </a:ext>
            </a:extLst>
          </p:cNvPr>
          <p:cNvCxnSpPr/>
          <p:nvPr>
            <p:custDataLst>
              <p:tags r:id="rId186"/>
            </p:custDataLst>
          </p:nvPr>
        </p:nvCxnSpPr>
        <p:spPr bwMode="auto">
          <a:xfrm flipV="1">
            <a:off x="7165975" y="3473450"/>
            <a:ext cx="0" cy="254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7" name="Straight Connector 846">
            <a:extLst>
              <a:ext uri="{FF2B5EF4-FFF2-40B4-BE49-F238E27FC236}">
                <a16:creationId xmlns="" xmlns:a16="http://schemas.microsoft.com/office/drawing/2014/main" id="{7B12442B-CCF4-4604-B043-FB14D35AD6A1}"/>
              </a:ext>
            </a:extLst>
          </p:cNvPr>
          <p:cNvCxnSpPr/>
          <p:nvPr>
            <p:custDataLst>
              <p:tags r:id="rId187"/>
            </p:custDataLst>
          </p:nvPr>
        </p:nvCxnSpPr>
        <p:spPr bwMode="auto">
          <a:xfrm flipV="1">
            <a:off x="7165975" y="3473450"/>
            <a:ext cx="0" cy="254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8" name="Straight Connector 877">
            <a:extLst>
              <a:ext uri="{FF2B5EF4-FFF2-40B4-BE49-F238E27FC236}">
                <a16:creationId xmlns="" xmlns:a16="http://schemas.microsoft.com/office/drawing/2014/main" id="{0806D135-AD8F-4B79-A122-66E8E47420B3}"/>
              </a:ext>
            </a:extLst>
          </p:cNvPr>
          <p:cNvCxnSpPr/>
          <p:nvPr>
            <p:custDataLst>
              <p:tags r:id="rId188"/>
            </p:custDataLst>
          </p:nvPr>
        </p:nvCxnSpPr>
        <p:spPr bwMode="auto">
          <a:xfrm flipV="1">
            <a:off x="8212138" y="3135313"/>
            <a:ext cx="0" cy="174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1" name="Straight Connector 850">
            <a:extLst>
              <a:ext uri="{FF2B5EF4-FFF2-40B4-BE49-F238E27FC236}">
                <a16:creationId xmlns="" xmlns:a16="http://schemas.microsoft.com/office/drawing/2014/main" id="{9F18DE74-1BA7-4A9B-9907-8A8FA53336A8}"/>
              </a:ext>
            </a:extLst>
          </p:cNvPr>
          <p:cNvCxnSpPr/>
          <p:nvPr>
            <p:custDataLst>
              <p:tags r:id="rId189"/>
            </p:custDataLst>
          </p:nvPr>
        </p:nvCxnSpPr>
        <p:spPr bwMode="auto">
          <a:xfrm flipV="1">
            <a:off x="7296150" y="3424238"/>
            <a:ext cx="0" cy="254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8" name="Straight Connector 847">
            <a:extLst>
              <a:ext uri="{FF2B5EF4-FFF2-40B4-BE49-F238E27FC236}">
                <a16:creationId xmlns="" xmlns:a16="http://schemas.microsoft.com/office/drawing/2014/main" id="{B69DC23B-E946-41C9-8ABE-23060D753219}"/>
              </a:ext>
            </a:extLst>
          </p:cNvPr>
          <p:cNvCxnSpPr/>
          <p:nvPr>
            <p:custDataLst>
              <p:tags r:id="rId190"/>
            </p:custDataLst>
          </p:nvPr>
        </p:nvCxnSpPr>
        <p:spPr bwMode="auto">
          <a:xfrm flipV="1">
            <a:off x="7231063" y="3449638"/>
            <a:ext cx="0" cy="23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9" name="Straight Connector 848">
            <a:extLst>
              <a:ext uri="{FF2B5EF4-FFF2-40B4-BE49-F238E27FC236}">
                <a16:creationId xmlns="" xmlns:a16="http://schemas.microsoft.com/office/drawing/2014/main" id="{2825124C-3328-46DB-A306-8357E596FF90}"/>
              </a:ext>
            </a:extLst>
          </p:cNvPr>
          <p:cNvCxnSpPr/>
          <p:nvPr>
            <p:custDataLst>
              <p:tags r:id="rId191"/>
            </p:custDataLst>
          </p:nvPr>
        </p:nvCxnSpPr>
        <p:spPr bwMode="auto">
          <a:xfrm flipV="1">
            <a:off x="7231063" y="3449638"/>
            <a:ext cx="0" cy="23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0" name="Straight Connector 849">
            <a:extLst>
              <a:ext uri="{FF2B5EF4-FFF2-40B4-BE49-F238E27FC236}">
                <a16:creationId xmlns="" xmlns:a16="http://schemas.microsoft.com/office/drawing/2014/main" id="{401898CB-9D78-4A82-B918-7A24F10EB5C1}"/>
              </a:ext>
            </a:extLst>
          </p:cNvPr>
          <p:cNvCxnSpPr/>
          <p:nvPr>
            <p:custDataLst>
              <p:tags r:id="rId192"/>
            </p:custDataLst>
          </p:nvPr>
        </p:nvCxnSpPr>
        <p:spPr bwMode="auto">
          <a:xfrm flipV="1">
            <a:off x="7296150" y="3424238"/>
            <a:ext cx="0" cy="254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2" name="Straight Connector 851">
            <a:extLst>
              <a:ext uri="{FF2B5EF4-FFF2-40B4-BE49-F238E27FC236}">
                <a16:creationId xmlns="" xmlns:a16="http://schemas.microsoft.com/office/drawing/2014/main" id="{49763846-401C-4FB0-80EA-88A2E712F2B1}"/>
              </a:ext>
            </a:extLst>
          </p:cNvPr>
          <p:cNvCxnSpPr/>
          <p:nvPr>
            <p:custDataLst>
              <p:tags r:id="rId193"/>
            </p:custDataLst>
          </p:nvPr>
        </p:nvCxnSpPr>
        <p:spPr bwMode="auto">
          <a:xfrm flipV="1">
            <a:off x="7361238" y="3400425"/>
            <a:ext cx="0" cy="23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4" name="Straight Connector 853">
            <a:extLst>
              <a:ext uri="{FF2B5EF4-FFF2-40B4-BE49-F238E27FC236}">
                <a16:creationId xmlns="" xmlns:a16="http://schemas.microsoft.com/office/drawing/2014/main" id="{E5E78186-BA86-4069-8B64-2D3474D17103}"/>
              </a:ext>
            </a:extLst>
          </p:cNvPr>
          <p:cNvCxnSpPr/>
          <p:nvPr>
            <p:custDataLst>
              <p:tags r:id="rId194"/>
            </p:custDataLst>
          </p:nvPr>
        </p:nvCxnSpPr>
        <p:spPr bwMode="auto">
          <a:xfrm flipV="1">
            <a:off x="7426325" y="3378200"/>
            <a:ext cx="0" cy="222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5" name="Straight Connector 854">
            <a:extLst>
              <a:ext uri="{FF2B5EF4-FFF2-40B4-BE49-F238E27FC236}">
                <a16:creationId xmlns="" xmlns:a16="http://schemas.microsoft.com/office/drawing/2014/main" id="{EDC56049-3BB8-44B1-A03E-F641E82685BE}"/>
              </a:ext>
            </a:extLst>
          </p:cNvPr>
          <p:cNvCxnSpPr/>
          <p:nvPr>
            <p:custDataLst>
              <p:tags r:id="rId195"/>
            </p:custDataLst>
          </p:nvPr>
        </p:nvCxnSpPr>
        <p:spPr bwMode="auto">
          <a:xfrm flipV="1">
            <a:off x="7426325" y="3378200"/>
            <a:ext cx="0" cy="222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6" name="Straight Connector 855">
            <a:extLst>
              <a:ext uri="{FF2B5EF4-FFF2-40B4-BE49-F238E27FC236}">
                <a16:creationId xmlns="" xmlns:a16="http://schemas.microsoft.com/office/drawing/2014/main" id="{07429BF0-2325-475D-A5BC-935BE91E4B3D}"/>
              </a:ext>
            </a:extLst>
          </p:cNvPr>
          <p:cNvCxnSpPr/>
          <p:nvPr>
            <p:custDataLst>
              <p:tags r:id="rId196"/>
            </p:custDataLst>
          </p:nvPr>
        </p:nvCxnSpPr>
        <p:spPr bwMode="auto">
          <a:xfrm flipV="1">
            <a:off x="7491413" y="3354388"/>
            <a:ext cx="0" cy="23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8" name="Straight Connector 857">
            <a:extLst>
              <a:ext uri="{FF2B5EF4-FFF2-40B4-BE49-F238E27FC236}">
                <a16:creationId xmlns="" xmlns:a16="http://schemas.microsoft.com/office/drawing/2014/main" id="{838F5A0F-713C-42FE-BFDF-5E56CADFCDF2}"/>
              </a:ext>
            </a:extLst>
          </p:cNvPr>
          <p:cNvCxnSpPr/>
          <p:nvPr>
            <p:custDataLst>
              <p:tags r:id="rId197"/>
            </p:custDataLst>
          </p:nvPr>
        </p:nvCxnSpPr>
        <p:spPr bwMode="auto">
          <a:xfrm flipV="1">
            <a:off x="7558088" y="3332163"/>
            <a:ext cx="0" cy="222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0" name="Straight Connector 859">
            <a:extLst>
              <a:ext uri="{FF2B5EF4-FFF2-40B4-BE49-F238E27FC236}">
                <a16:creationId xmlns="" xmlns:a16="http://schemas.microsoft.com/office/drawing/2014/main" id="{F6619A1D-7BB8-48E9-A957-A5646101FE5B}"/>
              </a:ext>
            </a:extLst>
          </p:cNvPr>
          <p:cNvCxnSpPr/>
          <p:nvPr>
            <p:custDataLst>
              <p:tags r:id="rId198"/>
            </p:custDataLst>
          </p:nvPr>
        </p:nvCxnSpPr>
        <p:spPr bwMode="auto">
          <a:xfrm flipV="1">
            <a:off x="7623175" y="3311525"/>
            <a:ext cx="0" cy="206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3" name="Straight Connector 922">
            <a:extLst>
              <a:ext uri="{FF2B5EF4-FFF2-40B4-BE49-F238E27FC236}">
                <a16:creationId xmlns="" xmlns:a16="http://schemas.microsoft.com/office/drawing/2014/main" id="{5C6A810C-F649-49A6-B032-56BAD9C99B15}"/>
              </a:ext>
            </a:extLst>
          </p:cNvPr>
          <p:cNvCxnSpPr/>
          <p:nvPr>
            <p:custDataLst>
              <p:tags r:id="rId199"/>
            </p:custDataLst>
          </p:nvPr>
        </p:nvCxnSpPr>
        <p:spPr bwMode="auto">
          <a:xfrm flipV="1">
            <a:off x="9650413" y="2852738"/>
            <a:ext cx="0" cy="9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2" name="Straight Connector 861">
            <a:extLst>
              <a:ext uri="{FF2B5EF4-FFF2-40B4-BE49-F238E27FC236}">
                <a16:creationId xmlns="" xmlns:a16="http://schemas.microsoft.com/office/drawing/2014/main" id="{C777D08E-D4FF-4749-9A3E-5DEBB2BD4290}"/>
              </a:ext>
            </a:extLst>
          </p:cNvPr>
          <p:cNvCxnSpPr/>
          <p:nvPr>
            <p:custDataLst>
              <p:tags r:id="rId200"/>
            </p:custDataLst>
          </p:nvPr>
        </p:nvCxnSpPr>
        <p:spPr bwMode="auto">
          <a:xfrm flipV="1">
            <a:off x="7688263" y="3289300"/>
            <a:ext cx="0" cy="222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4" name="Straight Connector 863">
            <a:extLst>
              <a:ext uri="{FF2B5EF4-FFF2-40B4-BE49-F238E27FC236}">
                <a16:creationId xmlns="" xmlns:a16="http://schemas.microsoft.com/office/drawing/2014/main" id="{43736968-7A48-4E15-92F8-BDBD994E84D4}"/>
              </a:ext>
            </a:extLst>
          </p:cNvPr>
          <p:cNvCxnSpPr/>
          <p:nvPr>
            <p:custDataLst>
              <p:tags r:id="rId201"/>
            </p:custDataLst>
          </p:nvPr>
        </p:nvCxnSpPr>
        <p:spPr bwMode="auto">
          <a:xfrm flipV="1">
            <a:off x="7753350" y="3268663"/>
            <a:ext cx="0" cy="206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5" name="Straight Connector 864">
            <a:extLst>
              <a:ext uri="{FF2B5EF4-FFF2-40B4-BE49-F238E27FC236}">
                <a16:creationId xmlns="" xmlns:a16="http://schemas.microsoft.com/office/drawing/2014/main" id="{8D5BB359-CEE7-44AC-A65C-04633C719F6B}"/>
              </a:ext>
            </a:extLst>
          </p:cNvPr>
          <p:cNvCxnSpPr/>
          <p:nvPr>
            <p:custDataLst>
              <p:tags r:id="rId202"/>
            </p:custDataLst>
          </p:nvPr>
        </p:nvCxnSpPr>
        <p:spPr bwMode="auto">
          <a:xfrm flipV="1">
            <a:off x="7753350" y="3268663"/>
            <a:ext cx="0" cy="206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6" name="Straight Connector 865">
            <a:extLst>
              <a:ext uri="{FF2B5EF4-FFF2-40B4-BE49-F238E27FC236}">
                <a16:creationId xmlns="" xmlns:a16="http://schemas.microsoft.com/office/drawing/2014/main" id="{948EBCE9-4C2A-496C-A307-085BA9F87490}"/>
              </a:ext>
            </a:extLst>
          </p:cNvPr>
          <p:cNvCxnSpPr/>
          <p:nvPr>
            <p:custDataLst>
              <p:tags r:id="rId203"/>
            </p:custDataLst>
          </p:nvPr>
        </p:nvCxnSpPr>
        <p:spPr bwMode="auto">
          <a:xfrm flipV="1">
            <a:off x="7818438" y="3248025"/>
            <a:ext cx="0" cy="206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7" name="Straight Connector 866">
            <a:extLst>
              <a:ext uri="{FF2B5EF4-FFF2-40B4-BE49-F238E27FC236}">
                <a16:creationId xmlns="" xmlns:a16="http://schemas.microsoft.com/office/drawing/2014/main" id="{BF10402D-C525-4129-BB2D-61B928926F8D}"/>
              </a:ext>
            </a:extLst>
          </p:cNvPr>
          <p:cNvCxnSpPr/>
          <p:nvPr>
            <p:custDataLst>
              <p:tags r:id="rId204"/>
            </p:custDataLst>
          </p:nvPr>
        </p:nvCxnSpPr>
        <p:spPr bwMode="auto">
          <a:xfrm flipV="1">
            <a:off x="7818438" y="3248025"/>
            <a:ext cx="0" cy="206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8" name="Straight Connector 867">
            <a:extLst>
              <a:ext uri="{FF2B5EF4-FFF2-40B4-BE49-F238E27FC236}">
                <a16:creationId xmlns="" xmlns:a16="http://schemas.microsoft.com/office/drawing/2014/main" id="{934DCBA2-6250-484C-A986-246A0FCDC339}"/>
              </a:ext>
            </a:extLst>
          </p:cNvPr>
          <p:cNvCxnSpPr/>
          <p:nvPr>
            <p:custDataLst>
              <p:tags r:id="rId205"/>
            </p:custDataLst>
          </p:nvPr>
        </p:nvCxnSpPr>
        <p:spPr bwMode="auto">
          <a:xfrm flipV="1">
            <a:off x="7885113" y="3227388"/>
            <a:ext cx="0" cy="206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9" name="Straight Connector 898">
            <a:extLst>
              <a:ext uri="{FF2B5EF4-FFF2-40B4-BE49-F238E27FC236}">
                <a16:creationId xmlns="" xmlns:a16="http://schemas.microsoft.com/office/drawing/2014/main" id="{E721F16B-8DA7-4738-B2CE-C6400A9DBDC5}"/>
              </a:ext>
            </a:extLst>
          </p:cNvPr>
          <p:cNvCxnSpPr/>
          <p:nvPr>
            <p:custDataLst>
              <p:tags r:id="rId206"/>
            </p:custDataLst>
          </p:nvPr>
        </p:nvCxnSpPr>
        <p:spPr bwMode="auto">
          <a:xfrm flipV="1">
            <a:off x="8866188" y="2982913"/>
            <a:ext cx="0" cy="127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9" name="Straight Connector 868">
            <a:extLst>
              <a:ext uri="{FF2B5EF4-FFF2-40B4-BE49-F238E27FC236}">
                <a16:creationId xmlns="" xmlns:a16="http://schemas.microsoft.com/office/drawing/2014/main" id="{46E4F29A-A76C-4892-8B28-4EF690B3B9FF}"/>
              </a:ext>
            </a:extLst>
          </p:cNvPr>
          <p:cNvCxnSpPr/>
          <p:nvPr>
            <p:custDataLst>
              <p:tags r:id="rId207"/>
            </p:custDataLst>
          </p:nvPr>
        </p:nvCxnSpPr>
        <p:spPr bwMode="auto">
          <a:xfrm flipV="1">
            <a:off x="7885113" y="3227388"/>
            <a:ext cx="0" cy="206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1" name="Straight Connector 870">
            <a:extLst>
              <a:ext uri="{FF2B5EF4-FFF2-40B4-BE49-F238E27FC236}">
                <a16:creationId xmlns="" xmlns:a16="http://schemas.microsoft.com/office/drawing/2014/main" id="{EEDB4BD3-3034-4E2C-B597-FF01AEA0FF99}"/>
              </a:ext>
            </a:extLst>
          </p:cNvPr>
          <p:cNvCxnSpPr/>
          <p:nvPr>
            <p:custDataLst>
              <p:tags r:id="rId208"/>
            </p:custDataLst>
          </p:nvPr>
        </p:nvCxnSpPr>
        <p:spPr bwMode="auto">
          <a:xfrm flipV="1">
            <a:off x="7950200" y="3208338"/>
            <a:ext cx="0" cy="190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3" name="Straight Connector 872">
            <a:extLst>
              <a:ext uri="{FF2B5EF4-FFF2-40B4-BE49-F238E27FC236}">
                <a16:creationId xmlns="" xmlns:a16="http://schemas.microsoft.com/office/drawing/2014/main" id="{8892BFF5-B795-4044-890F-20671EC40D64}"/>
              </a:ext>
            </a:extLst>
          </p:cNvPr>
          <p:cNvCxnSpPr/>
          <p:nvPr>
            <p:custDataLst>
              <p:tags r:id="rId209"/>
            </p:custDataLst>
          </p:nvPr>
        </p:nvCxnSpPr>
        <p:spPr bwMode="auto">
          <a:xfrm flipV="1">
            <a:off x="8015288" y="3189288"/>
            <a:ext cx="0" cy="190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5" name="Straight Connector 874">
            <a:extLst>
              <a:ext uri="{FF2B5EF4-FFF2-40B4-BE49-F238E27FC236}">
                <a16:creationId xmlns="" xmlns:a16="http://schemas.microsoft.com/office/drawing/2014/main" id="{DB4CC08A-476A-439A-92B1-67E8AFDBA885}"/>
              </a:ext>
            </a:extLst>
          </p:cNvPr>
          <p:cNvCxnSpPr/>
          <p:nvPr>
            <p:custDataLst>
              <p:tags r:id="rId210"/>
            </p:custDataLst>
          </p:nvPr>
        </p:nvCxnSpPr>
        <p:spPr bwMode="auto">
          <a:xfrm flipV="1">
            <a:off x="8080375" y="3170238"/>
            <a:ext cx="0" cy="190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6" name="Straight Connector 875">
            <a:extLst>
              <a:ext uri="{FF2B5EF4-FFF2-40B4-BE49-F238E27FC236}">
                <a16:creationId xmlns="" xmlns:a16="http://schemas.microsoft.com/office/drawing/2014/main" id="{422C39A9-73AF-4E68-AD2F-93387F36517B}"/>
              </a:ext>
            </a:extLst>
          </p:cNvPr>
          <p:cNvCxnSpPr/>
          <p:nvPr>
            <p:custDataLst>
              <p:tags r:id="rId211"/>
            </p:custDataLst>
          </p:nvPr>
        </p:nvCxnSpPr>
        <p:spPr bwMode="auto">
          <a:xfrm flipV="1">
            <a:off x="8145463" y="3152775"/>
            <a:ext cx="0" cy="174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9" name="Straight Connector 878">
            <a:extLst>
              <a:ext uri="{FF2B5EF4-FFF2-40B4-BE49-F238E27FC236}">
                <a16:creationId xmlns="" xmlns:a16="http://schemas.microsoft.com/office/drawing/2014/main" id="{BD3E2581-D045-42A6-ADC4-690E743E7AA8}"/>
              </a:ext>
            </a:extLst>
          </p:cNvPr>
          <p:cNvCxnSpPr/>
          <p:nvPr>
            <p:custDataLst>
              <p:tags r:id="rId212"/>
            </p:custDataLst>
          </p:nvPr>
        </p:nvCxnSpPr>
        <p:spPr bwMode="auto">
          <a:xfrm flipV="1">
            <a:off x="8212138" y="3135313"/>
            <a:ext cx="0" cy="174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4" name="Straight Connector 933">
            <a:extLst>
              <a:ext uri="{FF2B5EF4-FFF2-40B4-BE49-F238E27FC236}">
                <a16:creationId xmlns="" xmlns:a16="http://schemas.microsoft.com/office/drawing/2014/main" id="{E5FA1139-FB70-48E4-B608-2B97CB8C5BFA}"/>
              </a:ext>
            </a:extLst>
          </p:cNvPr>
          <p:cNvCxnSpPr/>
          <p:nvPr>
            <p:custDataLst>
              <p:tags r:id="rId213"/>
            </p:custDataLst>
          </p:nvPr>
        </p:nvCxnSpPr>
        <p:spPr bwMode="auto">
          <a:xfrm flipV="1">
            <a:off x="10042525" y="2806700"/>
            <a:ext cx="0" cy="79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0" name="Straight Connector 879">
            <a:extLst>
              <a:ext uri="{FF2B5EF4-FFF2-40B4-BE49-F238E27FC236}">
                <a16:creationId xmlns="" xmlns:a16="http://schemas.microsoft.com/office/drawing/2014/main" id="{A7269F9D-C56C-44B5-A3C0-85CB992FE12D}"/>
              </a:ext>
            </a:extLst>
          </p:cNvPr>
          <p:cNvCxnSpPr/>
          <p:nvPr>
            <p:custDataLst>
              <p:tags r:id="rId214"/>
            </p:custDataLst>
          </p:nvPr>
        </p:nvCxnSpPr>
        <p:spPr bwMode="auto">
          <a:xfrm flipV="1">
            <a:off x="8277225" y="3117850"/>
            <a:ext cx="0" cy="174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2" name="Straight Connector 881">
            <a:extLst>
              <a:ext uri="{FF2B5EF4-FFF2-40B4-BE49-F238E27FC236}">
                <a16:creationId xmlns="" xmlns:a16="http://schemas.microsoft.com/office/drawing/2014/main" id="{0C8B00FE-F820-4E9B-A428-D24A60FD8021}"/>
              </a:ext>
            </a:extLst>
          </p:cNvPr>
          <p:cNvCxnSpPr/>
          <p:nvPr>
            <p:custDataLst>
              <p:tags r:id="rId215"/>
            </p:custDataLst>
          </p:nvPr>
        </p:nvCxnSpPr>
        <p:spPr bwMode="auto">
          <a:xfrm flipV="1">
            <a:off x="8342313" y="3100388"/>
            <a:ext cx="0" cy="174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3" name="Straight Connector 882">
            <a:extLst>
              <a:ext uri="{FF2B5EF4-FFF2-40B4-BE49-F238E27FC236}">
                <a16:creationId xmlns="" xmlns:a16="http://schemas.microsoft.com/office/drawing/2014/main" id="{E09B1741-77B5-47F0-BC4B-5D876A3E4962}"/>
              </a:ext>
            </a:extLst>
          </p:cNvPr>
          <p:cNvCxnSpPr/>
          <p:nvPr>
            <p:custDataLst>
              <p:tags r:id="rId216"/>
            </p:custDataLst>
          </p:nvPr>
        </p:nvCxnSpPr>
        <p:spPr bwMode="auto">
          <a:xfrm flipV="1">
            <a:off x="8342313" y="3100388"/>
            <a:ext cx="0" cy="174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1" name="Straight Connector 900">
            <a:extLst>
              <a:ext uri="{FF2B5EF4-FFF2-40B4-BE49-F238E27FC236}">
                <a16:creationId xmlns="" xmlns:a16="http://schemas.microsoft.com/office/drawing/2014/main" id="{6185BE26-C2E8-4DFC-AE43-9A3F9C5D46E5}"/>
              </a:ext>
            </a:extLst>
          </p:cNvPr>
          <p:cNvCxnSpPr/>
          <p:nvPr>
            <p:custDataLst>
              <p:tags r:id="rId217"/>
            </p:custDataLst>
          </p:nvPr>
        </p:nvCxnSpPr>
        <p:spPr bwMode="auto">
          <a:xfrm flipV="1">
            <a:off x="8931275" y="2970213"/>
            <a:ext cx="0" cy="127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4" name="Straight Connector 883">
            <a:extLst>
              <a:ext uri="{FF2B5EF4-FFF2-40B4-BE49-F238E27FC236}">
                <a16:creationId xmlns="" xmlns:a16="http://schemas.microsoft.com/office/drawing/2014/main" id="{DD43F898-8FA7-47BA-9134-E7191710E184}"/>
              </a:ext>
            </a:extLst>
          </p:cNvPr>
          <p:cNvCxnSpPr/>
          <p:nvPr>
            <p:custDataLst>
              <p:tags r:id="rId218"/>
            </p:custDataLst>
          </p:nvPr>
        </p:nvCxnSpPr>
        <p:spPr bwMode="auto">
          <a:xfrm flipV="1">
            <a:off x="8407400" y="3084513"/>
            <a:ext cx="0" cy="158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5" name="Straight Connector 884">
            <a:extLst>
              <a:ext uri="{FF2B5EF4-FFF2-40B4-BE49-F238E27FC236}">
                <a16:creationId xmlns="" xmlns:a16="http://schemas.microsoft.com/office/drawing/2014/main" id="{89F5B62B-04B6-4ED5-BD43-D142C12B6931}"/>
              </a:ext>
            </a:extLst>
          </p:cNvPr>
          <p:cNvCxnSpPr/>
          <p:nvPr>
            <p:custDataLst>
              <p:tags r:id="rId219"/>
            </p:custDataLst>
          </p:nvPr>
        </p:nvCxnSpPr>
        <p:spPr bwMode="auto">
          <a:xfrm flipV="1">
            <a:off x="8407400" y="3084513"/>
            <a:ext cx="0" cy="158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7" name="Straight Connector 936">
            <a:extLst>
              <a:ext uri="{FF2B5EF4-FFF2-40B4-BE49-F238E27FC236}">
                <a16:creationId xmlns="" xmlns:a16="http://schemas.microsoft.com/office/drawing/2014/main" id="{73ACD790-EAC6-449F-B258-56D5A28C905F}"/>
              </a:ext>
            </a:extLst>
          </p:cNvPr>
          <p:cNvCxnSpPr/>
          <p:nvPr>
            <p:custDataLst>
              <p:tags r:id="rId220"/>
            </p:custDataLst>
          </p:nvPr>
        </p:nvCxnSpPr>
        <p:spPr bwMode="auto">
          <a:xfrm flipV="1">
            <a:off x="10107613" y="2800350"/>
            <a:ext cx="0" cy="63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6" name="Straight Connector 885">
            <a:extLst>
              <a:ext uri="{FF2B5EF4-FFF2-40B4-BE49-F238E27FC236}">
                <a16:creationId xmlns="" xmlns:a16="http://schemas.microsoft.com/office/drawing/2014/main" id="{F7468E0A-CFE2-4BBA-B15C-43BAE05C21C4}"/>
              </a:ext>
            </a:extLst>
          </p:cNvPr>
          <p:cNvCxnSpPr/>
          <p:nvPr>
            <p:custDataLst>
              <p:tags r:id="rId221"/>
            </p:custDataLst>
          </p:nvPr>
        </p:nvCxnSpPr>
        <p:spPr bwMode="auto">
          <a:xfrm flipV="1">
            <a:off x="8472488" y="3068638"/>
            <a:ext cx="0" cy="158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7" name="Straight Connector 886">
            <a:extLst>
              <a:ext uri="{FF2B5EF4-FFF2-40B4-BE49-F238E27FC236}">
                <a16:creationId xmlns="" xmlns:a16="http://schemas.microsoft.com/office/drawing/2014/main" id="{B9F79660-FD6E-49E5-A716-F0A95034A72D}"/>
              </a:ext>
            </a:extLst>
          </p:cNvPr>
          <p:cNvCxnSpPr/>
          <p:nvPr>
            <p:custDataLst>
              <p:tags r:id="rId222"/>
            </p:custDataLst>
          </p:nvPr>
        </p:nvCxnSpPr>
        <p:spPr bwMode="auto">
          <a:xfrm flipV="1">
            <a:off x="8472488" y="3068638"/>
            <a:ext cx="0" cy="158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8" name="Straight Connector 887">
            <a:extLst>
              <a:ext uri="{FF2B5EF4-FFF2-40B4-BE49-F238E27FC236}">
                <a16:creationId xmlns="" xmlns:a16="http://schemas.microsoft.com/office/drawing/2014/main" id="{A9C0C4D3-0BAA-4866-B0D4-B152E96EBEAF}"/>
              </a:ext>
            </a:extLst>
          </p:cNvPr>
          <p:cNvCxnSpPr/>
          <p:nvPr>
            <p:custDataLst>
              <p:tags r:id="rId223"/>
            </p:custDataLst>
          </p:nvPr>
        </p:nvCxnSpPr>
        <p:spPr bwMode="auto">
          <a:xfrm flipV="1">
            <a:off x="8539163" y="3052763"/>
            <a:ext cx="0" cy="158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9" name="Straight Connector 888">
            <a:extLst>
              <a:ext uri="{FF2B5EF4-FFF2-40B4-BE49-F238E27FC236}">
                <a16:creationId xmlns="" xmlns:a16="http://schemas.microsoft.com/office/drawing/2014/main" id="{9A349660-BF50-4192-80CA-A8AAC6ED62D0}"/>
              </a:ext>
            </a:extLst>
          </p:cNvPr>
          <p:cNvCxnSpPr/>
          <p:nvPr>
            <p:custDataLst>
              <p:tags r:id="rId224"/>
            </p:custDataLst>
          </p:nvPr>
        </p:nvCxnSpPr>
        <p:spPr bwMode="auto">
          <a:xfrm flipV="1">
            <a:off x="8539163" y="3052763"/>
            <a:ext cx="0" cy="158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2" name="Straight Connector 891">
            <a:extLst>
              <a:ext uri="{FF2B5EF4-FFF2-40B4-BE49-F238E27FC236}">
                <a16:creationId xmlns="" xmlns:a16="http://schemas.microsoft.com/office/drawing/2014/main" id="{57824421-2A6F-432A-8541-3C959721BC3C}"/>
              </a:ext>
            </a:extLst>
          </p:cNvPr>
          <p:cNvCxnSpPr/>
          <p:nvPr>
            <p:custDataLst>
              <p:tags r:id="rId225"/>
            </p:custDataLst>
          </p:nvPr>
        </p:nvCxnSpPr>
        <p:spPr bwMode="auto">
          <a:xfrm flipV="1">
            <a:off x="8669338" y="3024188"/>
            <a:ext cx="0" cy="142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3" name="Straight Connector 892">
            <a:extLst>
              <a:ext uri="{FF2B5EF4-FFF2-40B4-BE49-F238E27FC236}">
                <a16:creationId xmlns="" xmlns:a16="http://schemas.microsoft.com/office/drawing/2014/main" id="{AE226E13-37AE-4DD0-A58D-EC5BBF66197C}"/>
              </a:ext>
            </a:extLst>
          </p:cNvPr>
          <p:cNvCxnSpPr/>
          <p:nvPr>
            <p:custDataLst>
              <p:tags r:id="rId226"/>
            </p:custDataLst>
          </p:nvPr>
        </p:nvCxnSpPr>
        <p:spPr bwMode="auto">
          <a:xfrm flipV="1">
            <a:off x="8669338" y="3024188"/>
            <a:ext cx="0" cy="142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4" name="Straight Connector 893">
            <a:extLst>
              <a:ext uri="{FF2B5EF4-FFF2-40B4-BE49-F238E27FC236}">
                <a16:creationId xmlns="" xmlns:a16="http://schemas.microsoft.com/office/drawing/2014/main" id="{AC0B160C-177F-4C3A-89D8-C0AE9B44D733}"/>
              </a:ext>
            </a:extLst>
          </p:cNvPr>
          <p:cNvCxnSpPr/>
          <p:nvPr>
            <p:custDataLst>
              <p:tags r:id="rId227"/>
            </p:custDataLst>
          </p:nvPr>
        </p:nvCxnSpPr>
        <p:spPr bwMode="auto">
          <a:xfrm flipV="1">
            <a:off x="8734425" y="3009900"/>
            <a:ext cx="0" cy="142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5" name="Straight Connector 894">
            <a:extLst>
              <a:ext uri="{FF2B5EF4-FFF2-40B4-BE49-F238E27FC236}">
                <a16:creationId xmlns="" xmlns:a16="http://schemas.microsoft.com/office/drawing/2014/main" id="{8DA057B6-35C0-45A8-9713-9B77568D8207}"/>
              </a:ext>
            </a:extLst>
          </p:cNvPr>
          <p:cNvCxnSpPr/>
          <p:nvPr>
            <p:custDataLst>
              <p:tags r:id="rId228"/>
            </p:custDataLst>
          </p:nvPr>
        </p:nvCxnSpPr>
        <p:spPr bwMode="auto">
          <a:xfrm flipV="1">
            <a:off x="8734425" y="3009900"/>
            <a:ext cx="0" cy="142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3" name="Straight Connector 932">
            <a:extLst>
              <a:ext uri="{FF2B5EF4-FFF2-40B4-BE49-F238E27FC236}">
                <a16:creationId xmlns="" xmlns:a16="http://schemas.microsoft.com/office/drawing/2014/main" id="{11254B4A-CA1A-4615-9611-1D2C906263EF}"/>
              </a:ext>
            </a:extLst>
          </p:cNvPr>
          <p:cNvCxnSpPr/>
          <p:nvPr>
            <p:custDataLst>
              <p:tags r:id="rId229"/>
            </p:custDataLst>
          </p:nvPr>
        </p:nvCxnSpPr>
        <p:spPr bwMode="auto">
          <a:xfrm flipV="1">
            <a:off x="9977438" y="2814638"/>
            <a:ext cx="0" cy="63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7" name="Straight Connector 926">
            <a:extLst>
              <a:ext uri="{FF2B5EF4-FFF2-40B4-BE49-F238E27FC236}">
                <a16:creationId xmlns="" xmlns:a16="http://schemas.microsoft.com/office/drawing/2014/main" id="{7FB1BB71-9DDE-497B-BBE6-15F680CAE3C4}"/>
              </a:ext>
            </a:extLst>
          </p:cNvPr>
          <p:cNvCxnSpPr/>
          <p:nvPr>
            <p:custDataLst>
              <p:tags r:id="rId230"/>
            </p:custDataLst>
          </p:nvPr>
        </p:nvCxnSpPr>
        <p:spPr bwMode="auto">
          <a:xfrm flipV="1">
            <a:off x="9780588" y="2836863"/>
            <a:ext cx="0" cy="79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6" name="Straight Connector 895">
            <a:extLst>
              <a:ext uri="{FF2B5EF4-FFF2-40B4-BE49-F238E27FC236}">
                <a16:creationId xmlns="" xmlns:a16="http://schemas.microsoft.com/office/drawing/2014/main" id="{7D98D1A3-12CC-4AE8-9D18-56B5541E79B6}"/>
              </a:ext>
            </a:extLst>
          </p:cNvPr>
          <p:cNvCxnSpPr/>
          <p:nvPr>
            <p:custDataLst>
              <p:tags r:id="rId231"/>
            </p:custDataLst>
          </p:nvPr>
        </p:nvCxnSpPr>
        <p:spPr bwMode="auto">
          <a:xfrm flipV="1">
            <a:off x="8799513" y="2995613"/>
            <a:ext cx="0" cy="142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2" name="Straight Connector 1221">
            <a:extLst>
              <a:ext uri="{FF2B5EF4-FFF2-40B4-BE49-F238E27FC236}">
                <a16:creationId xmlns="" xmlns:a16="http://schemas.microsoft.com/office/drawing/2014/main" id="{ED76036A-36CC-42BE-8F1F-23DA60FB51AF}"/>
              </a:ext>
            </a:extLst>
          </p:cNvPr>
          <p:cNvCxnSpPr/>
          <p:nvPr>
            <p:custDataLst>
              <p:tags r:id="rId232"/>
            </p:custDataLst>
          </p:nvPr>
        </p:nvCxnSpPr>
        <p:spPr bwMode="auto">
          <a:xfrm flipV="1">
            <a:off x="11350625" y="2728913"/>
            <a:ext cx="0" cy="15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7" name="Straight Connector 896">
            <a:extLst>
              <a:ext uri="{FF2B5EF4-FFF2-40B4-BE49-F238E27FC236}">
                <a16:creationId xmlns="" xmlns:a16="http://schemas.microsoft.com/office/drawing/2014/main" id="{500A3231-3866-485E-9713-CCAF2040CFF0}"/>
              </a:ext>
            </a:extLst>
          </p:cNvPr>
          <p:cNvCxnSpPr/>
          <p:nvPr>
            <p:custDataLst>
              <p:tags r:id="rId233"/>
            </p:custDataLst>
          </p:nvPr>
        </p:nvCxnSpPr>
        <p:spPr bwMode="auto">
          <a:xfrm flipV="1">
            <a:off x="8799513" y="2995613"/>
            <a:ext cx="0" cy="142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6" name="Straight Connector 965">
            <a:extLst>
              <a:ext uri="{FF2B5EF4-FFF2-40B4-BE49-F238E27FC236}">
                <a16:creationId xmlns="" xmlns:a16="http://schemas.microsoft.com/office/drawing/2014/main" id="{3D14231E-A7C6-4911-B1EC-B0C9C5D07FE1}"/>
              </a:ext>
            </a:extLst>
          </p:cNvPr>
          <p:cNvCxnSpPr/>
          <p:nvPr>
            <p:custDataLst>
              <p:tags r:id="rId234"/>
            </p:custDataLst>
          </p:nvPr>
        </p:nvCxnSpPr>
        <p:spPr bwMode="auto">
          <a:xfrm flipV="1">
            <a:off x="11088688" y="2736850"/>
            <a:ext cx="0" cy="15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0" name="Straight Connector 979">
            <a:extLst>
              <a:ext uri="{FF2B5EF4-FFF2-40B4-BE49-F238E27FC236}">
                <a16:creationId xmlns="" xmlns:a16="http://schemas.microsoft.com/office/drawing/2014/main" id="{DF598037-4FA7-4E3E-A8B2-9EE6795E3FBF}"/>
              </a:ext>
            </a:extLst>
          </p:cNvPr>
          <p:cNvCxnSpPr/>
          <p:nvPr>
            <p:custDataLst>
              <p:tags r:id="rId235"/>
            </p:custDataLst>
          </p:nvPr>
        </p:nvCxnSpPr>
        <p:spPr bwMode="auto">
          <a:xfrm>
            <a:off x="1482725" y="538797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8" name="Straight Connector 977">
            <a:extLst>
              <a:ext uri="{FF2B5EF4-FFF2-40B4-BE49-F238E27FC236}">
                <a16:creationId xmlns="" xmlns:a16="http://schemas.microsoft.com/office/drawing/2014/main" id="{1EA7519B-C7E8-4532-83A7-E62408313F7F}"/>
              </a:ext>
            </a:extLst>
          </p:cNvPr>
          <p:cNvCxnSpPr/>
          <p:nvPr>
            <p:custDataLst>
              <p:tags r:id="rId236"/>
            </p:custDataLst>
          </p:nvPr>
        </p:nvCxnSpPr>
        <p:spPr bwMode="auto">
          <a:xfrm>
            <a:off x="1482725" y="608488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9" name="Straight Connector 1228">
            <a:extLst>
              <a:ext uri="{FF2B5EF4-FFF2-40B4-BE49-F238E27FC236}">
                <a16:creationId xmlns="" xmlns:a16="http://schemas.microsoft.com/office/drawing/2014/main" id="{D3296E8A-CA3F-49E4-9562-82B112C635CC}"/>
              </a:ext>
            </a:extLst>
          </p:cNvPr>
          <p:cNvCxnSpPr/>
          <p:nvPr>
            <p:custDataLst>
              <p:tags r:id="rId237"/>
            </p:custDataLst>
          </p:nvPr>
        </p:nvCxnSpPr>
        <p:spPr bwMode="auto">
          <a:xfrm>
            <a:off x="1482725" y="577532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0" name="Straight Connector 1229">
            <a:extLst>
              <a:ext uri="{FF2B5EF4-FFF2-40B4-BE49-F238E27FC236}">
                <a16:creationId xmlns="" xmlns:a16="http://schemas.microsoft.com/office/drawing/2014/main" id="{B3A1E1DE-7A7F-47B8-BC41-745C8CF8AF42}"/>
              </a:ext>
            </a:extLst>
          </p:cNvPr>
          <p:cNvCxnSpPr/>
          <p:nvPr>
            <p:custDataLst>
              <p:tags r:id="rId238"/>
            </p:custDataLst>
          </p:nvPr>
        </p:nvCxnSpPr>
        <p:spPr bwMode="auto">
          <a:xfrm>
            <a:off x="1482725" y="500221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2" name="Straight Connector 981">
            <a:extLst>
              <a:ext uri="{FF2B5EF4-FFF2-40B4-BE49-F238E27FC236}">
                <a16:creationId xmlns="" xmlns:a16="http://schemas.microsoft.com/office/drawing/2014/main" id="{DBAEEF54-760D-45C6-A0A3-7572EABDB514}"/>
              </a:ext>
            </a:extLst>
          </p:cNvPr>
          <p:cNvCxnSpPr/>
          <p:nvPr>
            <p:custDataLst>
              <p:tags r:id="rId239"/>
            </p:custDataLst>
          </p:nvPr>
        </p:nvCxnSpPr>
        <p:spPr bwMode="auto">
          <a:xfrm>
            <a:off x="1482725" y="461486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1" name="Straight Connector 1230">
            <a:extLst>
              <a:ext uri="{FF2B5EF4-FFF2-40B4-BE49-F238E27FC236}">
                <a16:creationId xmlns="" xmlns:a16="http://schemas.microsoft.com/office/drawing/2014/main" id="{8B42868B-62CC-4255-AB81-50B17233A1D3}"/>
              </a:ext>
            </a:extLst>
          </p:cNvPr>
          <p:cNvCxnSpPr/>
          <p:nvPr>
            <p:custDataLst>
              <p:tags r:id="rId240"/>
            </p:custDataLst>
          </p:nvPr>
        </p:nvCxnSpPr>
        <p:spPr bwMode="auto">
          <a:xfrm>
            <a:off x="1482725" y="422910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6" name="Straight Connector 985">
            <a:extLst>
              <a:ext uri="{FF2B5EF4-FFF2-40B4-BE49-F238E27FC236}">
                <a16:creationId xmlns="" xmlns:a16="http://schemas.microsoft.com/office/drawing/2014/main" id="{AC100ED1-1D34-45B5-BDEA-50FDF239096F}"/>
              </a:ext>
            </a:extLst>
          </p:cNvPr>
          <p:cNvCxnSpPr/>
          <p:nvPr>
            <p:custDataLst>
              <p:tags r:id="rId241"/>
            </p:custDataLst>
          </p:nvPr>
        </p:nvCxnSpPr>
        <p:spPr bwMode="auto">
          <a:xfrm>
            <a:off x="1482725" y="306863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4" name="Straight Connector 983">
            <a:extLst>
              <a:ext uri="{FF2B5EF4-FFF2-40B4-BE49-F238E27FC236}">
                <a16:creationId xmlns="" xmlns:a16="http://schemas.microsoft.com/office/drawing/2014/main" id="{11B33150-1C1A-45BD-87A9-D9900A6610FB}"/>
              </a:ext>
            </a:extLst>
          </p:cNvPr>
          <p:cNvCxnSpPr/>
          <p:nvPr>
            <p:custDataLst>
              <p:tags r:id="rId242"/>
            </p:custDataLst>
          </p:nvPr>
        </p:nvCxnSpPr>
        <p:spPr bwMode="auto">
          <a:xfrm>
            <a:off x="1482725" y="384175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3" name="Straight Connector 1232">
            <a:extLst>
              <a:ext uri="{FF2B5EF4-FFF2-40B4-BE49-F238E27FC236}">
                <a16:creationId xmlns="" xmlns:a16="http://schemas.microsoft.com/office/drawing/2014/main" id="{DFA47D81-1B4F-4BD7-A765-9CEA200116C7}"/>
              </a:ext>
            </a:extLst>
          </p:cNvPr>
          <p:cNvCxnSpPr/>
          <p:nvPr>
            <p:custDataLst>
              <p:tags r:id="rId243"/>
            </p:custDataLst>
          </p:nvPr>
        </p:nvCxnSpPr>
        <p:spPr bwMode="auto">
          <a:xfrm>
            <a:off x="1482725" y="268128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2" name="Straight Connector 1231">
            <a:extLst>
              <a:ext uri="{FF2B5EF4-FFF2-40B4-BE49-F238E27FC236}">
                <a16:creationId xmlns="" xmlns:a16="http://schemas.microsoft.com/office/drawing/2014/main" id="{86A32540-ADC6-4207-B071-68C3EFC127B1}"/>
              </a:ext>
            </a:extLst>
          </p:cNvPr>
          <p:cNvCxnSpPr/>
          <p:nvPr>
            <p:custDataLst>
              <p:tags r:id="rId244"/>
            </p:custDataLst>
          </p:nvPr>
        </p:nvCxnSpPr>
        <p:spPr bwMode="auto">
          <a:xfrm>
            <a:off x="1482725" y="345440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282" name="Chart 1281">
            <a:extLst>
              <a:ext uri="{FF2B5EF4-FFF2-40B4-BE49-F238E27FC236}">
                <a16:creationId xmlns="" xmlns:a16="http://schemas.microsoft.com/office/drawing/2014/main" id="{A43E1F59-D2FE-4143-867F-C00F9BE0F5BB}"/>
              </a:ext>
            </a:extLst>
          </p:cNvPr>
          <p:cNvGraphicFramePr/>
          <p:nvPr>
            <p:custDataLst>
              <p:tags r:id="rId245"/>
            </p:custDataLst>
            <p:extLst>
              <p:ext uri="{D42A27DB-BD31-4B8C-83A1-F6EECF244321}">
                <p14:modId xmlns:p14="http://schemas.microsoft.com/office/powerpoint/2010/main" val="79502463"/>
              </p:ext>
            </p:extLst>
          </p:nvPr>
        </p:nvGraphicFramePr>
        <p:xfrm>
          <a:off x="1458913" y="2598738"/>
          <a:ext cx="10039350" cy="3568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8"/>
          </a:graphicData>
        </a:graphic>
      </p:graphicFrame>
      <p:sp>
        <p:nvSpPr>
          <p:cNvPr id="1227" name="Text Placeholder 2">
            <a:extLst>
              <a:ext uri="{FF2B5EF4-FFF2-40B4-BE49-F238E27FC236}">
                <a16:creationId xmlns="" xmlns:a16="http://schemas.microsoft.com/office/drawing/2014/main" id="{340C9E27-E099-4B61-8FFC-27BBDC32621D}"/>
              </a:ext>
            </a:extLst>
          </p:cNvPr>
          <p:cNvSpPr>
            <a:spLocks noGrp="1"/>
          </p:cNvSpPr>
          <p:nvPr>
            <p:custDataLst>
              <p:tags r:id="rId246"/>
            </p:custDataLst>
          </p:nvPr>
        </p:nvSpPr>
        <p:spPr bwMode="gray">
          <a:xfrm>
            <a:off x="1143000" y="3363913"/>
            <a:ext cx="2222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74320" indent="-27432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7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258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544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830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16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40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AA2F918-D37F-4A43-8B4F-4AE7115012D7}" type="datetime'''''''''''''''9'''''''''''''''''''''''',''''''0'''''''''''''">
              <a:rPr lang="es-CL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9,0</a:t>
            </a:fld>
            <a:endParaRPr lang="es-CL" sz="1400" dirty="0">
              <a:sym typeface="+mn-lt"/>
            </a:endParaRPr>
          </a:p>
        </p:txBody>
      </p:sp>
      <p:sp>
        <p:nvSpPr>
          <p:cNvPr id="1224" name="Text Placeholder 2">
            <a:extLst>
              <a:ext uri="{FF2B5EF4-FFF2-40B4-BE49-F238E27FC236}">
                <a16:creationId xmlns="" xmlns:a16="http://schemas.microsoft.com/office/drawing/2014/main" id="{AF73E6AE-5169-4F0A-ABC3-2772790BD96A}"/>
              </a:ext>
            </a:extLst>
          </p:cNvPr>
          <p:cNvSpPr>
            <a:spLocks noGrp="1"/>
          </p:cNvSpPr>
          <p:nvPr>
            <p:custDataLst>
              <p:tags r:id="rId247"/>
            </p:custDataLst>
          </p:nvPr>
        </p:nvSpPr>
        <p:spPr bwMode="gray">
          <a:xfrm>
            <a:off x="1143000" y="5684838"/>
            <a:ext cx="2222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74320" indent="-27432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7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258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544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830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16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40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87358FD-C4A4-4BDB-A546-CC0C6DBC6CE1}" type="datetime'''''''3'''''''''',0'''''''''''''''''''''''''''''''''">
              <a:rPr lang="es-CL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,0</a:t>
            </a:fld>
            <a:endParaRPr lang="es-CL" sz="1400" dirty="0">
              <a:sym typeface="+mn-lt"/>
            </a:endParaRPr>
          </a:p>
        </p:txBody>
      </p:sp>
      <p:sp>
        <p:nvSpPr>
          <p:cNvPr id="401" name="Text Placeholder 2">
            <a:extLst>
              <a:ext uri="{FF2B5EF4-FFF2-40B4-BE49-F238E27FC236}">
                <a16:creationId xmlns="" xmlns:a16="http://schemas.microsoft.com/office/drawing/2014/main" id="{DDC73ADD-C4ED-4D8A-9E3D-F3A38E0C0209}"/>
              </a:ext>
            </a:extLst>
          </p:cNvPr>
          <p:cNvSpPr>
            <a:spLocks noGrp="1"/>
          </p:cNvSpPr>
          <p:nvPr>
            <p:custDataLst>
              <p:tags r:id="rId248"/>
            </p:custDataLst>
          </p:nvPr>
        </p:nvSpPr>
        <p:spPr bwMode="gray">
          <a:xfrm>
            <a:off x="1143000" y="5297488"/>
            <a:ext cx="2222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74320" indent="-27432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7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258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544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830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16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40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6DEF6B7-5ED1-4C53-981F-B052F9C995C0}" type="datetime'''''''''''4'''',''''''''0'''''''''''''''''''''''''''''">
              <a:rPr lang="es-CL" altLang="en-US" sz="1400" smtClean="0"/>
              <a:pPr/>
              <a:t>4,0</a:t>
            </a:fld>
            <a:endParaRPr lang="es-CL" sz="1400" dirty="0">
              <a:sym typeface="+mn-lt"/>
            </a:endParaRPr>
          </a:p>
        </p:txBody>
      </p:sp>
      <p:sp>
        <p:nvSpPr>
          <p:cNvPr id="1228" name="Text Placeholder 2">
            <a:extLst>
              <a:ext uri="{FF2B5EF4-FFF2-40B4-BE49-F238E27FC236}">
                <a16:creationId xmlns="" xmlns:a16="http://schemas.microsoft.com/office/drawing/2014/main" id="{3A307E28-A77A-4EEE-B664-0D05B2B64C45}"/>
              </a:ext>
            </a:extLst>
          </p:cNvPr>
          <p:cNvSpPr>
            <a:spLocks noGrp="1"/>
          </p:cNvSpPr>
          <p:nvPr>
            <p:custDataLst>
              <p:tags r:id="rId249"/>
            </p:custDataLst>
          </p:nvPr>
        </p:nvSpPr>
        <p:spPr bwMode="gray">
          <a:xfrm>
            <a:off x="1054100" y="2590800"/>
            <a:ext cx="3111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74320" indent="-27432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7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258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544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830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16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40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77E0A8D-5F99-4784-8473-53E641839C4D}" type="datetime'''''''''''1''''''1'''''''''''',''''''''0'''''''''''''''''''''">
              <a:rPr lang="es-CL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1,0</a:t>
            </a:fld>
            <a:endParaRPr lang="es-CL" sz="1400" dirty="0">
              <a:sym typeface="+mn-lt"/>
            </a:endParaRPr>
          </a:p>
        </p:txBody>
      </p:sp>
      <p:sp>
        <p:nvSpPr>
          <p:cNvPr id="399" name="Text Placeholder 2">
            <a:extLst>
              <a:ext uri="{FF2B5EF4-FFF2-40B4-BE49-F238E27FC236}">
                <a16:creationId xmlns="" xmlns:a16="http://schemas.microsoft.com/office/drawing/2014/main" id="{3F4A8094-D8E2-479E-977F-AFF2FA15D82E}"/>
              </a:ext>
            </a:extLst>
          </p:cNvPr>
          <p:cNvSpPr>
            <a:spLocks noGrp="1"/>
          </p:cNvSpPr>
          <p:nvPr>
            <p:custDataLst>
              <p:tags r:id="rId250"/>
            </p:custDataLst>
          </p:nvPr>
        </p:nvSpPr>
        <p:spPr bwMode="gray">
          <a:xfrm>
            <a:off x="1143000" y="5994400"/>
            <a:ext cx="2222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74320" indent="-27432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7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258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544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830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16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40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AD0E0CB-38A2-4B02-B5E0-0E47013D7631}" type="datetime'''''''''''''''''''''''''''''''''''0'''''''',''0'''''">
              <a:rPr lang="es-CL" altLang="en-US" sz="1400" smtClean="0"/>
              <a:pPr/>
              <a:t>0,0</a:t>
            </a:fld>
            <a:endParaRPr lang="es-CL" sz="1400" dirty="0">
              <a:sym typeface="+mn-lt"/>
            </a:endParaRPr>
          </a:p>
        </p:txBody>
      </p:sp>
      <p:sp>
        <p:nvSpPr>
          <p:cNvPr id="1225" name="Text Placeholder 2">
            <a:extLst>
              <a:ext uri="{FF2B5EF4-FFF2-40B4-BE49-F238E27FC236}">
                <a16:creationId xmlns="" xmlns:a16="http://schemas.microsoft.com/office/drawing/2014/main" id="{47890131-6D83-4EA5-833A-A74DA864C1F8}"/>
              </a:ext>
            </a:extLst>
          </p:cNvPr>
          <p:cNvSpPr>
            <a:spLocks noGrp="1"/>
          </p:cNvSpPr>
          <p:nvPr>
            <p:custDataLst>
              <p:tags r:id="rId251"/>
            </p:custDataLst>
          </p:nvPr>
        </p:nvSpPr>
        <p:spPr bwMode="gray">
          <a:xfrm>
            <a:off x="1143000" y="4911725"/>
            <a:ext cx="2222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74320" indent="-27432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7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258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544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830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16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40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285847D-D164-477F-AD95-BFBE01605DFD}" type="datetime'''''''''''5'''''''''''''',0'''">
              <a:rPr lang="es-CL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,0</a:t>
            </a:fld>
            <a:endParaRPr lang="es-CL" sz="1400" dirty="0">
              <a:sym typeface="+mn-lt"/>
            </a:endParaRPr>
          </a:p>
        </p:txBody>
      </p:sp>
      <p:sp>
        <p:nvSpPr>
          <p:cNvPr id="403" name="Text Placeholder 2">
            <a:extLst>
              <a:ext uri="{FF2B5EF4-FFF2-40B4-BE49-F238E27FC236}">
                <a16:creationId xmlns="" xmlns:a16="http://schemas.microsoft.com/office/drawing/2014/main" id="{8B3A1E18-8E02-4165-AA89-C0330CAA6857}"/>
              </a:ext>
            </a:extLst>
          </p:cNvPr>
          <p:cNvSpPr>
            <a:spLocks noGrp="1"/>
          </p:cNvSpPr>
          <p:nvPr>
            <p:custDataLst>
              <p:tags r:id="rId252"/>
            </p:custDataLst>
          </p:nvPr>
        </p:nvSpPr>
        <p:spPr bwMode="gray">
          <a:xfrm>
            <a:off x="1143000" y="4524375"/>
            <a:ext cx="2222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74320" indent="-27432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7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258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544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830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16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40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8C83203-9F79-4171-9A9A-7BB5099CF3A1}" type="datetime'''''''''''''''''''''''6'''''''''''''''''''',''''''''''0'''">
              <a:rPr lang="es-CL" altLang="en-US" sz="1400" smtClean="0"/>
              <a:pPr/>
              <a:t>6,0</a:t>
            </a:fld>
            <a:endParaRPr lang="es-CL" sz="1400" dirty="0">
              <a:sym typeface="+mn-lt"/>
            </a:endParaRPr>
          </a:p>
        </p:txBody>
      </p:sp>
      <p:sp>
        <p:nvSpPr>
          <p:cNvPr id="1226" name="Text Placeholder 2">
            <a:extLst>
              <a:ext uri="{FF2B5EF4-FFF2-40B4-BE49-F238E27FC236}">
                <a16:creationId xmlns="" xmlns:a16="http://schemas.microsoft.com/office/drawing/2014/main" id="{8DCE0BB2-85D1-400C-9E31-28BDF3BF1748}"/>
              </a:ext>
            </a:extLst>
          </p:cNvPr>
          <p:cNvSpPr>
            <a:spLocks noGrp="1"/>
          </p:cNvSpPr>
          <p:nvPr>
            <p:custDataLst>
              <p:tags r:id="rId253"/>
            </p:custDataLst>
          </p:nvPr>
        </p:nvSpPr>
        <p:spPr bwMode="gray">
          <a:xfrm>
            <a:off x="1143000" y="4138613"/>
            <a:ext cx="2222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74320" indent="-27432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7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258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544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830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16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40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4350863-3E33-4DA8-BB38-4E2969C15062}" type="datetime'''''''7'''''''''''''''''''''''''''',''''0'''''''''''''''''''">
              <a:rPr lang="es-CL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,0</a:t>
            </a:fld>
            <a:endParaRPr lang="es-CL" sz="1400" dirty="0">
              <a:sym typeface="+mn-lt"/>
            </a:endParaRPr>
          </a:p>
        </p:txBody>
      </p:sp>
      <p:sp>
        <p:nvSpPr>
          <p:cNvPr id="405" name="Text Placeholder 2">
            <a:extLst>
              <a:ext uri="{FF2B5EF4-FFF2-40B4-BE49-F238E27FC236}">
                <a16:creationId xmlns="" xmlns:a16="http://schemas.microsoft.com/office/drawing/2014/main" id="{E91C4319-FA37-46C8-BF90-C4D2F3C2C119}"/>
              </a:ext>
            </a:extLst>
          </p:cNvPr>
          <p:cNvSpPr>
            <a:spLocks noGrp="1"/>
          </p:cNvSpPr>
          <p:nvPr>
            <p:custDataLst>
              <p:tags r:id="rId254"/>
            </p:custDataLst>
          </p:nvPr>
        </p:nvSpPr>
        <p:spPr bwMode="gray">
          <a:xfrm>
            <a:off x="1143000" y="3751263"/>
            <a:ext cx="2222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74320" indent="-27432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7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258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544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830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16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40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2941ADA-E822-489E-AACA-A2AA73C7AEE0}" type="datetime'8'''',''''''''''''''''''''''''''''''''''''''''''0'">
              <a:rPr lang="es-CL" altLang="en-US" sz="1400" smtClean="0"/>
              <a:pPr/>
              <a:t>8,0</a:t>
            </a:fld>
            <a:endParaRPr lang="es-CL" sz="1400" dirty="0">
              <a:sym typeface="+mn-lt"/>
            </a:endParaRPr>
          </a:p>
        </p:txBody>
      </p:sp>
      <p:sp>
        <p:nvSpPr>
          <p:cNvPr id="407" name="Text Placeholder 2">
            <a:extLst>
              <a:ext uri="{FF2B5EF4-FFF2-40B4-BE49-F238E27FC236}">
                <a16:creationId xmlns="" xmlns:a16="http://schemas.microsoft.com/office/drawing/2014/main" id="{A770942C-10F0-4566-BF95-C874652B3B77}"/>
              </a:ext>
            </a:extLst>
          </p:cNvPr>
          <p:cNvSpPr>
            <a:spLocks noGrp="1"/>
          </p:cNvSpPr>
          <p:nvPr>
            <p:custDataLst>
              <p:tags r:id="rId255"/>
            </p:custDataLst>
          </p:nvPr>
        </p:nvSpPr>
        <p:spPr bwMode="gray">
          <a:xfrm>
            <a:off x="1054100" y="2978150"/>
            <a:ext cx="3111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74320" indent="-27432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7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258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544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830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16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40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8F34983-AAA7-4B59-B74B-FCFD4F04588F}" type="datetime'''''1''''''''''0'''''''''''''''''''''''''''',''''''0'''''''">
              <a:rPr lang="es-CL" altLang="en-US" sz="1400" smtClean="0"/>
              <a:pPr/>
              <a:t>10,0</a:t>
            </a:fld>
            <a:endParaRPr lang="es-CL" sz="1400" dirty="0">
              <a:sym typeface="+mn-lt"/>
            </a:endParaRPr>
          </a:p>
        </p:txBody>
      </p:sp>
      <p:sp useBgFill="1">
        <p:nvSpPr>
          <p:cNvPr id="1261" name="Freeform: Shape 1260">
            <a:extLst>
              <a:ext uri="{FF2B5EF4-FFF2-40B4-BE49-F238E27FC236}">
                <a16:creationId xmlns="" xmlns:a16="http://schemas.microsoft.com/office/drawing/2014/main" id="{F604800B-D026-422B-AE83-C144DBBE8489}"/>
              </a:ext>
            </a:extLst>
          </p:cNvPr>
          <p:cNvSpPr/>
          <p:nvPr>
            <p:custDataLst>
              <p:tags r:id="rId256"/>
            </p:custDataLst>
          </p:nvPr>
        </p:nvSpPr>
        <p:spPr bwMode="auto">
          <a:xfrm>
            <a:off x="1481138" y="5980114"/>
            <a:ext cx="9988550" cy="79375"/>
          </a:xfrm>
          <a:custGeom>
            <a:avLst/>
            <a:gdLst/>
            <a:ahLst/>
            <a:cxnLst/>
            <a:rect l="0" t="0" r="0" b="0"/>
            <a:pathLst>
              <a:path w="99885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  <a:lnTo>
                  <a:pt x="2063750" y="0"/>
                </a:lnTo>
                <a:lnTo>
                  <a:pt x="2146300" y="22225"/>
                </a:lnTo>
                <a:lnTo>
                  <a:pt x="2228850" y="0"/>
                </a:lnTo>
                <a:lnTo>
                  <a:pt x="2311400" y="22225"/>
                </a:lnTo>
                <a:lnTo>
                  <a:pt x="2393950" y="0"/>
                </a:lnTo>
                <a:lnTo>
                  <a:pt x="2476500" y="22225"/>
                </a:lnTo>
                <a:lnTo>
                  <a:pt x="2559050" y="0"/>
                </a:lnTo>
                <a:lnTo>
                  <a:pt x="2641600" y="22225"/>
                </a:lnTo>
                <a:lnTo>
                  <a:pt x="2724150" y="0"/>
                </a:lnTo>
                <a:lnTo>
                  <a:pt x="2806700" y="22225"/>
                </a:lnTo>
                <a:lnTo>
                  <a:pt x="2889250" y="0"/>
                </a:lnTo>
                <a:lnTo>
                  <a:pt x="2971800" y="22225"/>
                </a:lnTo>
                <a:lnTo>
                  <a:pt x="3054350" y="0"/>
                </a:lnTo>
                <a:lnTo>
                  <a:pt x="3136900" y="22225"/>
                </a:lnTo>
                <a:lnTo>
                  <a:pt x="3219450" y="0"/>
                </a:lnTo>
                <a:lnTo>
                  <a:pt x="3302000" y="22225"/>
                </a:lnTo>
                <a:lnTo>
                  <a:pt x="3384550" y="0"/>
                </a:lnTo>
                <a:lnTo>
                  <a:pt x="3467100" y="22225"/>
                </a:lnTo>
                <a:lnTo>
                  <a:pt x="3549650" y="0"/>
                </a:lnTo>
                <a:lnTo>
                  <a:pt x="3632200" y="22225"/>
                </a:lnTo>
                <a:lnTo>
                  <a:pt x="3714750" y="0"/>
                </a:lnTo>
                <a:lnTo>
                  <a:pt x="3797300" y="22225"/>
                </a:lnTo>
                <a:lnTo>
                  <a:pt x="3879850" y="0"/>
                </a:lnTo>
                <a:lnTo>
                  <a:pt x="3962400" y="22225"/>
                </a:lnTo>
                <a:lnTo>
                  <a:pt x="4044950" y="0"/>
                </a:lnTo>
                <a:lnTo>
                  <a:pt x="4127500" y="22225"/>
                </a:lnTo>
                <a:lnTo>
                  <a:pt x="4210050" y="0"/>
                </a:lnTo>
                <a:lnTo>
                  <a:pt x="4292600" y="22225"/>
                </a:lnTo>
                <a:lnTo>
                  <a:pt x="4375150" y="0"/>
                </a:lnTo>
                <a:lnTo>
                  <a:pt x="4457700" y="22225"/>
                </a:lnTo>
                <a:lnTo>
                  <a:pt x="4540250" y="0"/>
                </a:lnTo>
                <a:lnTo>
                  <a:pt x="4622800" y="22225"/>
                </a:lnTo>
                <a:lnTo>
                  <a:pt x="4705350" y="0"/>
                </a:lnTo>
                <a:lnTo>
                  <a:pt x="4787900" y="22225"/>
                </a:lnTo>
                <a:lnTo>
                  <a:pt x="4870450" y="0"/>
                </a:lnTo>
                <a:lnTo>
                  <a:pt x="4953000" y="22225"/>
                </a:lnTo>
                <a:lnTo>
                  <a:pt x="5035550" y="0"/>
                </a:lnTo>
                <a:lnTo>
                  <a:pt x="5118100" y="22225"/>
                </a:lnTo>
                <a:lnTo>
                  <a:pt x="5200650" y="0"/>
                </a:lnTo>
                <a:lnTo>
                  <a:pt x="5283200" y="22225"/>
                </a:lnTo>
                <a:lnTo>
                  <a:pt x="5365750" y="0"/>
                </a:lnTo>
                <a:lnTo>
                  <a:pt x="5448300" y="22225"/>
                </a:lnTo>
                <a:lnTo>
                  <a:pt x="5530850" y="0"/>
                </a:lnTo>
                <a:lnTo>
                  <a:pt x="5613400" y="22225"/>
                </a:lnTo>
                <a:lnTo>
                  <a:pt x="5695950" y="0"/>
                </a:lnTo>
                <a:lnTo>
                  <a:pt x="5778500" y="22225"/>
                </a:lnTo>
                <a:lnTo>
                  <a:pt x="5861050" y="0"/>
                </a:lnTo>
                <a:lnTo>
                  <a:pt x="5943600" y="22225"/>
                </a:lnTo>
                <a:lnTo>
                  <a:pt x="6026150" y="0"/>
                </a:lnTo>
                <a:lnTo>
                  <a:pt x="6108700" y="22225"/>
                </a:lnTo>
                <a:lnTo>
                  <a:pt x="6191250" y="0"/>
                </a:lnTo>
                <a:lnTo>
                  <a:pt x="6273800" y="22225"/>
                </a:lnTo>
                <a:lnTo>
                  <a:pt x="6356350" y="0"/>
                </a:lnTo>
                <a:lnTo>
                  <a:pt x="6438900" y="22225"/>
                </a:lnTo>
                <a:lnTo>
                  <a:pt x="6521450" y="0"/>
                </a:lnTo>
                <a:lnTo>
                  <a:pt x="6604000" y="22225"/>
                </a:lnTo>
                <a:lnTo>
                  <a:pt x="6686550" y="0"/>
                </a:lnTo>
                <a:lnTo>
                  <a:pt x="6769100" y="22225"/>
                </a:lnTo>
                <a:lnTo>
                  <a:pt x="6851650" y="0"/>
                </a:lnTo>
                <a:lnTo>
                  <a:pt x="6934200" y="22225"/>
                </a:lnTo>
                <a:lnTo>
                  <a:pt x="7016750" y="0"/>
                </a:lnTo>
                <a:lnTo>
                  <a:pt x="7099300" y="22225"/>
                </a:lnTo>
                <a:lnTo>
                  <a:pt x="7181850" y="0"/>
                </a:lnTo>
                <a:lnTo>
                  <a:pt x="7264400" y="22225"/>
                </a:lnTo>
                <a:lnTo>
                  <a:pt x="7346950" y="0"/>
                </a:lnTo>
                <a:lnTo>
                  <a:pt x="7429500" y="22225"/>
                </a:lnTo>
                <a:lnTo>
                  <a:pt x="7512050" y="0"/>
                </a:lnTo>
                <a:lnTo>
                  <a:pt x="7594600" y="22225"/>
                </a:lnTo>
                <a:lnTo>
                  <a:pt x="7677150" y="0"/>
                </a:lnTo>
                <a:lnTo>
                  <a:pt x="7759700" y="22225"/>
                </a:lnTo>
                <a:lnTo>
                  <a:pt x="7842250" y="0"/>
                </a:lnTo>
                <a:lnTo>
                  <a:pt x="7924800" y="22225"/>
                </a:lnTo>
                <a:lnTo>
                  <a:pt x="8007350" y="0"/>
                </a:lnTo>
                <a:lnTo>
                  <a:pt x="8089900" y="22225"/>
                </a:lnTo>
                <a:lnTo>
                  <a:pt x="8172450" y="0"/>
                </a:lnTo>
                <a:lnTo>
                  <a:pt x="8255000" y="22225"/>
                </a:lnTo>
                <a:lnTo>
                  <a:pt x="8337550" y="0"/>
                </a:lnTo>
                <a:lnTo>
                  <a:pt x="8420100" y="22225"/>
                </a:lnTo>
                <a:lnTo>
                  <a:pt x="8502650" y="0"/>
                </a:lnTo>
                <a:lnTo>
                  <a:pt x="8585200" y="22225"/>
                </a:lnTo>
                <a:lnTo>
                  <a:pt x="8667750" y="0"/>
                </a:lnTo>
                <a:lnTo>
                  <a:pt x="8750300" y="22225"/>
                </a:lnTo>
                <a:lnTo>
                  <a:pt x="8832850" y="0"/>
                </a:lnTo>
                <a:lnTo>
                  <a:pt x="8915400" y="22225"/>
                </a:lnTo>
                <a:lnTo>
                  <a:pt x="8997950" y="0"/>
                </a:lnTo>
                <a:lnTo>
                  <a:pt x="9080500" y="22225"/>
                </a:lnTo>
                <a:lnTo>
                  <a:pt x="9163050" y="0"/>
                </a:lnTo>
                <a:lnTo>
                  <a:pt x="9245600" y="22225"/>
                </a:lnTo>
                <a:lnTo>
                  <a:pt x="9328150" y="0"/>
                </a:lnTo>
                <a:lnTo>
                  <a:pt x="9410700" y="22225"/>
                </a:lnTo>
                <a:lnTo>
                  <a:pt x="9493250" y="0"/>
                </a:lnTo>
                <a:lnTo>
                  <a:pt x="9575800" y="22225"/>
                </a:lnTo>
                <a:lnTo>
                  <a:pt x="9658350" y="0"/>
                </a:lnTo>
                <a:lnTo>
                  <a:pt x="9740900" y="22225"/>
                </a:lnTo>
                <a:lnTo>
                  <a:pt x="9823450" y="0"/>
                </a:lnTo>
                <a:lnTo>
                  <a:pt x="9906000" y="22225"/>
                </a:lnTo>
                <a:lnTo>
                  <a:pt x="9988550" y="0"/>
                </a:lnTo>
                <a:lnTo>
                  <a:pt x="9988550" y="57150"/>
                </a:lnTo>
                <a:lnTo>
                  <a:pt x="9906000" y="79375"/>
                </a:lnTo>
                <a:lnTo>
                  <a:pt x="9823450" y="57150"/>
                </a:lnTo>
                <a:lnTo>
                  <a:pt x="9740900" y="79375"/>
                </a:lnTo>
                <a:lnTo>
                  <a:pt x="9658350" y="57150"/>
                </a:lnTo>
                <a:lnTo>
                  <a:pt x="9575800" y="79375"/>
                </a:lnTo>
                <a:lnTo>
                  <a:pt x="9493250" y="57150"/>
                </a:lnTo>
                <a:lnTo>
                  <a:pt x="9410700" y="79375"/>
                </a:lnTo>
                <a:lnTo>
                  <a:pt x="9328150" y="57150"/>
                </a:lnTo>
                <a:lnTo>
                  <a:pt x="9245600" y="79375"/>
                </a:lnTo>
                <a:lnTo>
                  <a:pt x="9163050" y="57150"/>
                </a:lnTo>
                <a:lnTo>
                  <a:pt x="9080500" y="79375"/>
                </a:lnTo>
                <a:lnTo>
                  <a:pt x="8997950" y="57150"/>
                </a:lnTo>
                <a:lnTo>
                  <a:pt x="8915400" y="79375"/>
                </a:lnTo>
                <a:lnTo>
                  <a:pt x="8832850" y="57150"/>
                </a:lnTo>
                <a:lnTo>
                  <a:pt x="8750300" y="79375"/>
                </a:lnTo>
                <a:lnTo>
                  <a:pt x="8667750" y="57150"/>
                </a:lnTo>
                <a:lnTo>
                  <a:pt x="8585200" y="79375"/>
                </a:lnTo>
                <a:lnTo>
                  <a:pt x="8502650" y="57150"/>
                </a:lnTo>
                <a:lnTo>
                  <a:pt x="8420100" y="79375"/>
                </a:lnTo>
                <a:lnTo>
                  <a:pt x="8337550" y="57150"/>
                </a:lnTo>
                <a:lnTo>
                  <a:pt x="8255000" y="79375"/>
                </a:lnTo>
                <a:lnTo>
                  <a:pt x="8172450" y="57150"/>
                </a:lnTo>
                <a:lnTo>
                  <a:pt x="8089900" y="79375"/>
                </a:lnTo>
                <a:lnTo>
                  <a:pt x="8007350" y="57150"/>
                </a:lnTo>
                <a:lnTo>
                  <a:pt x="7924800" y="79375"/>
                </a:lnTo>
                <a:lnTo>
                  <a:pt x="7842250" y="57150"/>
                </a:lnTo>
                <a:lnTo>
                  <a:pt x="7759700" y="79375"/>
                </a:lnTo>
                <a:lnTo>
                  <a:pt x="7677150" y="57150"/>
                </a:lnTo>
                <a:lnTo>
                  <a:pt x="7594600" y="79375"/>
                </a:lnTo>
                <a:lnTo>
                  <a:pt x="7512050" y="57150"/>
                </a:lnTo>
                <a:lnTo>
                  <a:pt x="7429500" y="79375"/>
                </a:lnTo>
                <a:lnTo>
                  <a:pt x="7346950" y="57150"/>
                </a:lnTo>
                <a:lnTo>
                  <a:pt x="7264400" y="79375"/>
                </a:lnTo>
                <a:lnTo>
                  <a:pt x="7181850" y="57150"/>
                </a:lnTo>
                <a:lnTo>
                  <a:pt x="7099300" y="79375"/>
                </a:lnTo>
                <a:lnTo>
                  <a:pt x="7016750" y="57150"/>
                </a:lnTo>
                <a:lnTo>
                  <a:pt x="6934200" y="79375"/>
                </a:lnTo>
                <a:lnTo>
                  <a:pt x="6851650" y="57150"/>
                </a:lnTo>
                <a:lnTo>
                  <a:pt x="6769100" y="79375"/>
                </a:lnTo>
                <a:lnTo>
                  <a:pt x="6686550" y="57150"/>
                </a:lnTo>
                <a:lnTo>
                  <a:pt x="6604000" y="79375"/>
                </a:lnTo>
                <a:lnTo>
                  <a:pt x="6521450" y="57150"/>
                </a:lnTo>
                <a:lnTo>
                  <a:pt x="6438900" y="79375"/>
                </a:lnTo>
                <a:lnTo>
                  <a:pt x="6356350" y="57150"/>
                </a:lnTo>
                <a:lnTo>
                  <a:pt x="6273800" y="79375"/>
                </a:lnTo>
                <a:lnTo>
                  <a:pt x="6191250" y="57150"/>
                </a:lnTo>
                <a:lnTo>
                  <a:pt x="6108700" y="79375"/>
                </a:lnTo>
                <a:lnTo>
                  <a:pt x="6026150" y="57150"/>
                </a:lnTo>
                <a:lnTo>
                  <a:pt x="5943600" y="79375"/>
                </a:lnTo>
                <a:lnTo>
                  <a:pt x="5861050" y="57150"/>
                </a:lnTo>
                <a:lnTo>
                  <a:pt x="5778500" y="79375"/>
                </a:lnTo>
                <a:lnTo>
                  <a:pt x="5695950" y="57150"/>
                </a:lnTo>
                <a:lnTo>
                  <a:pt x="5613400" y="79375"/>
                </a:lnTo>
                <a:lnTo>
                  <a:pt x="5530850" y="57150"/>
                </a:lnTo>
                <a:lnTo>
                  <a:pt x="5448300" y="79375"/>
                </a:lnTo>
                <a:lnTo>
                  <a:pt x="5365750" y="57150"/>
                </a:lnTo>
                <a:lnTo>
                  <a:pt x="5283200" y="79375"/>
                </a:lnTo>
                <a:lnTo>
                  <a:pt x="5200650" y="57150"/>
                </a:lnTo>
                <a:lnTo>
                  <a:pt x="5118100" y="79375"/>
                </a:lnTo>
                <a:lnTo>
                  <a:pt x="5035550" y="57150"/>
                </a:lnTo>
                <a:lnTo>
                  <a:pt x="4953000" y="79375"/>
                </a:lnTo>
                <a:lnTo>
                  <a:pt x="4870450" y="57150"/>
                </a:lnTo>
                <a:lnTo>
                  <a:pt x="4787900" y="79375"/>
                </a:lnTo>
                <a:lnTo>
                  <a:pt x="4705350" y="57150"/>
                </a:lnTo>
                <a:lnTo>
                  <a:pt x="4622800" y="79375"/>
                </a:lnTo>
                <a:lnTo>
                  <a:pt x="4540250" y="57150"/>
                </a:lnTo>
                <a:lnTo>
                  <a:pt x="4457700" y="79375"/>
                </a:lnTo>
                <a:lnTo>
                  <a:pt x="4375150" y="57150"/>
                </a:lnTo>
                <a:lnTo>
                  <a:pt x="4292600" y="79375"/>
                </a:lnTo>
                <a:lnTo>
                  <a:pt x="4210050" y="57150"/>
                </a:lnTo>
                <a:lnTo>
                  <a:pt x="4127500" y="79375"/>
                </a:lnTo>
                <a:lnTo>
                  <a:pt x="4044950" y="57150"/>
                </a:lnTo>
                <a:lnTo>
                  <a:pt x="3962400" y="79375"/>
                </a:lnTo>
                <a:lnTo>
                  <a:pt x="3879850" y="57150"/>
                </a:lnTo>
                <a:lnTo>
                  <a:pt x="3797300" y="79375"/>
                </a:lnTo>
                <a:lnTo>
                  <a:pt x="3714750" y="57150"/>
                </a:lnTo>
                <a:lnTo>
                  <a:pt x="3632200" y="79375"/>
                </a:lnTo>
                <a:lnTo>
                  <a:pt x="3549650" y="57150"/>
                </a:lnTo>
                <a:lnTo>
                  <a:pt x="3467100" y="79375"/>
                </a:lnTo>
                <a:lnTo>
                  <a:pt x="3384550" y="57150"/>
                </a:lnTo>
                <a:lnTo>
                  <a:pt x="3302000" y="79375"/>
                </a:lnTo>
                <a:lnTo>
                  <a:pt x="3219450" y="57150"/>
                </a:lnTo>
                <a:lnTo>
                  <a:pt x="3136900" y="79375"/>
                </a:lnTo>
                <a:lnTo>
                  <a:pt x="3054350" y="57150"/>
                </a:lnTo>
                <a:lnTo>
                  <a:pt x="2971800" y="79375"/>
                </a:lnTo>
                <a:lnTo>
                  <a:pt x="2889250" y="57150"/>
                </a:lnTo>
                <a:lnTo>
                  <a:pt x="2806700" y="79375"/>
                </a:lnTo>
                <a:lnTo>
                  <a:pt x="2724150" y="57150"/>
                </a:lnTo>
                <a:lnTo>
                  <a:pt x="2641600" y="79375"/>
                </a:lnTo>
                <a:lnTo>
                  <a:pt x="2559050" y="57150"/>
                </a:lnTo>
                <a:lnTo>
                  <a:pt x="2476500" y="79375"/>
                </a:lnTo>
                <a:lnTo>
                  <a:pt x="2393950" y="57150"/>
                </a:lnTo>
                <a:lnTo>
                  <a:pt x="2311400" y="79375"/>
                </a:lnTo>
                <a:lnTo>
                  <a:pt x="2228850" y="57150"/>
                </a:lnTo>
                <a:lnTo>
                  <a:pt x="2146300" y="79375"/>
                </a:lnTo>
                <a:lnTo>
                  <a:pt x="2063750" y="57150"/>
                </a:lnTo>
                <a:lnTo>
                  <a:pt x="1981200" y="79375"/>
                </a:lnTo>
                <a:lnTo>
                  <a:pt x="1898650" y="57150"/>
                </a:lnTo>
                <a:lnTo>
                  <a:pt x="1816100" y="79375"/>
                </a:lnTo>
                <a:lnTo>
                  <a:pt x="1733550" y="57150"/>
                </a:lnTo>
                <a:lnTo>
                  <a:pt x="1651000" y="79375"/>
                </a:lnTo>
                <a:lnTo>
                  <a:pt x="1568450" y="57150"/>
                </a:lnTo>
                <a:lnTo>
                  <a:pt x="1485900" y="79375"/>
                </a:lnTo>
                <a:lnTo>
                  <a:pt x="1403350" y="57150"/>
                </a:lnTo>
                <a:lnTo>
                  <a:pt x="1320800" y="79375"/>
                </a:lnTo>
                <a:lnTo>
                  <a:pt x="1238250" y="57150"/>
                </a:lnTo>
                <a:lnTo>
                  <a:pt x="1155700" y="79375"/>
                </a:lnTo>
                <a:lnTo>
                  <a:pt x="1073150" y="57150"/>
                </a:lnTo>
                <a:lnTo>
                  <a:pt x="990600" y="79375"/>
                </a:lnTo>
                <a:lnTo>
                  <a:pt x="908050" y="57150"/>
                </a:lnTo>
                <a:lnTo>
                  <a:pt x="825500" y="79375"/>
                </a:lnTo>
                <a:lnTo>
                  <a:pt x="742950" y="57150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259" name="Freeform: Shape 1258">
            <a:extLst>
              <a:ext uri="{FF2B5EF4-FFF2-40B4-BE49-F238E27FC236}">
                <a16:creationId xmlns="" xmlns:a16="http://schemas.microsoft.com/office/drawing/2014/main" id="{C49FAF32-1BF9-4D79-9F53-8E80FC02B87D}"/>
              </a:ext>
            </a:extLst>
          </p:cNvPr>
          <p:cNvSpPr/>
          <p:nvPr>
            <p:custDataLst>
              <p:tags r:id="rId257"/>
            </p:custDataLst>
          </p:nvPr>
        </p:nvSpPr>
        <p:spPr bwMode="auto">
          <a:xfrm>
            <a:off x="1481138" y="5980114"/>
            <a:ext cx="9988550" cy="22225"/>
          </a:xfrm>
          <a:custGeom>
            <a:avLst/>
            <a:gdLst/>
            <a:ahLst/>
            <a:cxnLst/>
            <a:rect l="0" t="0" r="0" b="0"/>
            <a:pathLst>
              <a:path w="99885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  <a:lnTo>
                  <a:pt x="2063750" y="0"/>
                </a:lnTo>
                <a:lnTo>
                  <a:pt x="2146300" y="22225"/>
                </a:lnTo>
                <a:lnTo>
                  <a:pt x="2228850" y="0"/>
                </a:lnTo>
                <a:lnTo>
                  <a:pt x="2311400" y="22225"/>
                </a:lnTo>
                <a:lnTo>
                  <a:pt x="2393950" y="0"/>
                </a:lnTo>
                <a:lnTo>
                  <a:pt x="2476500" y="22225"/>
                </a:lnTo>
                <a:lnTo>
                  <a:pt x="2559050" y="0"/>
                </a:lnTo>
                <a:lnTo>
                  <a:pt x="2641600" y="22225"/>
                </a:lnTo>
                <a:lnTo>
                  <a:pt x="2724150" y="0"/>
                </a:lnTo>
                <a:lnTo>
                  <a:pt x="2806700" y="22225"/>
                </a:lnTo>
                <a:lnTo>
                  <a:pt x="2889250" y="0"/>
                </a:lnTo>
                <a:lnTo>
                  <a:pt x="2971800" y="22225"/>
                </a:lnTo>
                <a:lnTo>
                  <a:pt x="3054350" y="0"/>
                </a:lnTo>
                <a:lnTo>
                  <a:pt x="3136900" y="22225"/>
                </a:lnTo>
                <a:lnTo>
                  <a:pt x="3219450" y="0"/>
                </a:lnTo>
                <a:lnTo>
                  <a:pt x="3302000" y="22225"/>
                </a:lnTo>
                <a:lnTo>
                  <a:pt x="3384550" y="0"/>
                </a:lnTo>
                <a:lnTo>
                  <a:pt x="3467100" y="22225"/>
                </a:lnTo>
                <a:lnTo>
                  <a:pt x="3549650" y="0"/>
                </a:lnTo>
                <a:lnTo>
                  <a:pt x="3632200" y="22225"/>
                </a:lnTo>
                <a:lnTo>
                  <a:pt x="3714750" y="0"/>
                </a:lnTo>
                <a:lnTo>
                  <a:pt x="3797300" y="22225"/>
                </a:lnTo>
                <a:lnTo>
                  <a:pt x="3879850" y="0"/>
                </a:lnTo>
                <a:lnTo>
                  <a:pt x="3962400" y="22225"/>
                </a:lnTo>
                <a:lnTo>
                  <a:pt x="4044950" y="0"/>
                </a:lnTo>
                <a:lnTo>
                  <a:pt x="4127500" y="22225"/>
                </a:lnTo>
                <a:lnTo>
                  <a:pt x="4210050" y="0"/>
                </a:lnTo>
                <a:lnTo>
                  <a:pt x="4292600" y="22225"/>
                </a:lnTo>
                <a:lnTo>
                  <a:pt x="4375150" y="0"/>
                </a:lnTo>
                <a:lnTo>
                  <a:pt x="4457700" y="22225"/>
                </a:lnTo>
                <a:lnTo>
                  <a:pt x="4540250" y="0"/>
                </a:lnTo>
                <a:lnTo>
                  <a:pt x="4622800" y="22225"/>
                </a:lnTo>
                <a:lnTo>
                  <a:pt x="4705350" y="0"/>
                </a:lnTo>
                <a:lnTo>
                  <a:pt x="4787900" y="22225"/>
                </a:lnTo>
                <a:lnTo>
                  <a:pt x="4870450" y="0"/>
                </a:lnTo>
                <a:lnTo>
                  <a:pt x="4953000" y="22225"/>
                </a:lnTo>
                <a:lnTo>
                  <a:pt x="5035550" y="0"/>
                </a:lnTo>
                <a:lnTo>
                  <a:pt x="5118100" y="22225"/>
                </a:lnTo>
                <a:lnTo>
                  <a:pt x="5200650" y="0"/>
                </a:lnTo>
                <a:lnTo>
                  <a:pt x="5283200" y="22225"/>
                </a:lnTo>
                <a:lnTo>
                  <a:pt x="5365750" y="0"/>
                </a:lnTo>
                <a:lnTo>
                  <a:pt x="5448300" y="22225"/>
                </a:lnTo>
                <a:lnTo>
                  <a:pt x="5530850" y="0"/>
                </a:lnTo>
                <a:lnTo>
                  <a:pt x="5613400" y="22225"/>
                </a:lnTo>
                <a:lnTo>
                  <a:pt x="5695950" y="0"/>
                </a:lnTo>
                <a:lnTo>
                  <a:pt x="5778500" y="22225"/>
                </a:lnTo>
                <a:lnTo>
                  <a:pt x="5861050" y="0"/>
                </a:lnTo>
                <a:lnTo>
                  <a:pt x="5943600" y="22225"/>
                </a:lnTo>
                <a:lnTo>
                  <a:pt x="6026150" y="0"/>
                </a:lnTo>
                <a:lnTo>
                  <a:pt x="6108700" y="22225"/>
                </a:lnTo>
                <a:lnTo>
                  <a:pt x="6191250" y="0"/>
                </a:lnTo>
                <a:lnTo>
                  <a:pt x="6273800" y="22225"/>
                </a:lnTo>
                <a:lnTo>
                  <a:pt x="6356350" y="0"/>
                </a:lnTo>
                <a:lnTo>
                  <a:pt x="6438900" y="22225"/>
                </a:lnTo>
                <a:lnTo>
                  <a:pt x="6521450" y="0"/>
                </a:lnTo>
                <a:lnTo>
                  <a:pt x="6604000" y="22225"/>
                </a:lnTo>
                <a:lnTo>
                  <a:pt x="6686550" y="0"/>
                </a:lnTo>
                <a:lnTo>
                  <a:pt x="6769100" y="22225"/>
                </a:lnTo>
                <a:lnTo>
                  <a:pt x="6851650" y="0"/>
                </a:lnTo>
                <a:lnTo>
                  <a:pt x="6934200" y="22225"/>
                </a:lnTo>
                <a:lnTo>
                  <a:pt x="7016750" y="0"/>
                </a:lnTo>
                <a:lnTo>
                  <a:pt x="7099300" y="22225"/>
                </a:lnTo>
                <a:lnTo>
                  <a:pt x="7181850" y="0"/>
                </a:lnTo>
                <a:lnTo>
                  <a:pt x="7264400" y="22225"/>
                </a:lnTo>
                <a:lnTo>
                  <a:pt x="7346950" y="0"/>
                </a:lnTo>
                <a:lnTo>
                  <a:pt x="7429500" y="22225"/>
                </a:lnTo>
                <a:lnTo>
                  <a:pt x="7512050" y="0"/>
                </a:lnTo>
                <a:lnTo>
                  <a:pt x="7594600" y="22225"/>
                </a:lnTo>
                <a:lnTo>
                  <a:pt x="7677150" y="0"/>
                </a:lnTo>
                <a:lnTo>
                  <a:pt x="7759700" y="22225"/>
                </a:lnTo>
                <a:lnTo>
                  <a:pt x="7842250" y="0"/>
                </a:lnTo>
                <a:lnTo>
                  <a:pt x="7924800" y="22225"/>
                </a:lnTo>
                <a:lnTo>
                  <a:pt x="8007350" y="0"/>
                </a:lnTo>
                <a:lnTo>
                  <a:pt x="8089900" y="22225"/>
                </a:lnTo>
                <a:lnTo>
                  <a:pt x="8172450" y="0"/>
                </a:lnTo>
                <a:lnTo>
                  <a:pt x="8255000" y="22225"/>
                </a:lnTo>
                <a:lnTo>
                  <a:pt x="8337550" y="0"/>
                </a:lnTo>
                <a:lnTo>
                  <a:pt x="8420100" y="22225"/>
                </a:lnTo>
                <a:lnTo>
                  <a:pt x="8502650" y="0"/>
                </a:lnTo>
                <a:lnTo>
                  <a:pt x="8585200" y="22225"/>
                </a:lnTo>
                <a:lnTo>
                  <a:pt x="8667750" y="0"/>
                </a:lnTo>
                <a:lnTo>
                  <a:pt x="8750300" y="22225"/>
                </a:lnTo>
                <a:lnTo>
                  <a:pt x="8832850" y="0"/>
                </a:lnTo>
                <a:lnTo>
                  <a:pt x="8915400" y="22225"/>
                </a:lnTo>
                <a:lnTo>
                  <a:pt x="8997950" y="0"/>
                </a:lnTo>
                <a:lnTo>
                  <a:pt x="9080500" y="22225"/>
                </a:lnTo>
                <a:lnTo>
                  <a:pt x="9163050" y="0"/>
                </a:lnTo>
                <a:lnTo>
                  <a:pt x="9245600" y="22225"/>
                </a:lnTo>
                <a:lnTo>
                  <a:pt x="9328150" y="0"/>
                </a:lnTo>
                <a:lnTo>
                  <a:pt x="9410700" y="22225"/>
                </a:lnTo>
                <a:lnTo>
                  <a:pt x="9493250" y="0"/>
                </a:lnTo>
                <a:lnTo>
                  <a:pt x="9575800" y="22225"/>
                </a:lnTo>
                <a:lnTo>
                  <a:pt x="9658350" y="0"/>
                </a:lnTo>
                <a:lnTo>
                  <a:pt x="9740900" y="22225"/>
                </a:lnTo>
                <a:lnTo>
                  <a:pt x="9823450" y="0"/>
                </a:lnTo>
                <a:lnTo>
                  <a:pt x="9906000" y="22225"/>
                </a:lnTo>
                <a:lnTo>
                  <a:pt x="99885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260" name="Freeform: Shape 1259">
            <a:extLst>
              <a:ext uri="{FF2B5EF4-FFF2-40B4-BE49-F238E27FC236}">
                <a16:creationId xmlns="" xmlns:a16="http://schemas.microsoft.com/office/drawing/2014/main" id="{08BF03C7-F114-4BB9-81A2-986E069C58DC}"/>
              </a:ext>
            </a:extLst>
          </p:cNvPr>
          <p:cNvSpPr/>
          <p:nvPr>
            <p:custDataLst>
              <p:tags r:id="rId258"/>
            </p:custDataLst>
          </p:nvPr>
        </p:nvSpPr>
        <p:spPr bwMode="auto">
          <a:xfrm>
            <a:off x="1481138" y="6037264"/>
            <a:ext cx="9988550" cy="22225"/>
          </a:xfrm>
          <a:custGeom>
            <a:avLst/>
            <a:gdLst/>
            <a:ahLst/>
            <a:cxnLst/>
            <a:rect l="0" t="0" r="0" b="0"/>
            <a:pathLst>
              <a:path w="99885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  <a:lnTo>
                  <a:pt x="2063750" y="0"/>
                </a:lnTo>
                <a:lnTo>
                  <a:pt x="2146300" y="22225"/>
                </a:lnTo>
                <a:lnTo>
                  <a:pt x="2228850" y="0"/>
                </a:lnTo>
                <a:lnTo>
                  <a:pt x="2311400" y="22225"/>
                </a:lnTo>
                <a:lnTo>
                  <a:pt x="2393950" y="0"/>
                </a:lnTo>
                <a:lnTo>
                  <a:pt x="2476500" y="22225"/>
                </a:lnTo>
                <a:lnTo>
                  <a:pt x="2559050" y="0"/>
                </a:lnTo>
                <a:lnTo>
                  <a:pt x="2641600" y="22225"/>
                </a:lnTo>
                <a:lnTo>
                  <a:pt x="2724150" y="0"/>
                </a:lnTo>
                <a:lnTo>
                  <a:pt x="2806700" y="22225"/>
                </a:lnTo>
                <a:lnTo>
                  <a:pt x="2889250" y="0"/>
                </a:lnTo>
                <a:lnTo>
                  <a:pt x="2971800" y="22225"/>
                </a:lnTo>
                <a:lnTo>
                  <a:pt x="3054350" y="0"/>
                </a:lnTo>
                <a:lnTo>
                  <a:pt x="3136900" y="22225"/>
                </a:lnTo>
                <a:lnTo>
                  <a:pt x="3219450" y="0"/>
                </a:lnTo>
                <a:lnTo>
                  <a:pt x="3302000" y="22225"/>
                </a:lnTo>
                <a:lnTo>
                  <a:pt x="3384550" y="0"/>
                </a:lnTo>
                <a:lnTo>
                  <a:pt x="3467100" y="22225"/>
                </a:lnTo>
                <a:lnTo>
                  <a:pt x="3549650" y="0"/>
                </a:lnTo>
                <a:lnTo>
                  <a:pt x="3632200" y="22225"/>
                </a:lnTo>
                <a:lnTo>
                  <a:pt x="3714750" y="0"/>
                </a:lnTo>
                <a:lnTo>
                  <a:pt x="3797300" y="22225"/>
                </a:lnTo>
                <a:lnTo>
                  <a:pt x="3879850" y="0"/>
                </a:lnTo>
                <a:lnTo>
                  <a:pt x="3962400" y="22225"/>
                </a:lnTo>
                <a:lnTo>
                  <a:pt x="4044950" y="0"/>
                </a:lnTo>
                <a:lnTo>
                  <a:pt x="4127500" y="22225"/>
                </a:lnTo>
                <a:lnTo>
                  <a:pt x="4210050" y="0"/>
                </a:lnTo>
                <a:lnTo>
                  <a:pt x="4292600" y="22225"/>
                </a:lnTo>
                <a:lnTo>
                  <a:pt x="4375150" y="0"/>
                </a:lnTo>
                <a:lnTo>
                  <a:pt x="4457700" y="22225"/>
                </a:lnTo>
                <a:lnTo>
                  <a:pt x="4540250" y="0"/>
                </a:lnTo>
                <a:lnTo>
                  <a:pt x="4622800" y="22225"/>
                </a:lnTo>
                <a:lnTo>
                  <a:pt x="4705350" y="0"/>
                </a:lnTo>
                <a:lnTo>
                  <a:pt x="4787900" y="22225"/>
                </a:lnTo>
                <a:lnTo>
                  <a:pt x="4870450" y="0"/>
                </a:lnTo>
                <a:lnTo>
                  <a:pt x="4953000" y="22225"/>
                </a:lnTo>
                <a:lnTo>
                  <a:pt x="5035550" y="0"/>
                </a:lnTo>
                <a:lnTo>
                  <a:pt x="5118100" y="22225"/>
                </a:lnTo>
                <a:lnTo>
                  <a:pt x="5200650" y="0"/>
                </a:lnTo>
                <a:lnTo>
                  <a:pt x="5283200" y="22225"/>
                </a:lnTo>
                <a:lnTo>
                  <a:pt x="5365750" y="0"/>
                </a:lnTo>
                <a:lnTo>
                  <a:pt x="5448300" y="22225"/>
                </a:lnTo>
                <a:lnTo>
                  <a:pt x="5530850" y="0"/>
                </a:lnTo>
                <a:lnTo>
                  <a:pt x="5613400" y="22225"/>
                </a:lnTo>
                <a:lnTo>
                  <a:pt x="5695950" y="0"/>
                </a:lnTo>
                <a:lnTo>
                  <a:pt x="5778500" y="22225"/>
                </a:lnTo>
                <a:lnTo>
                  <a:pt x="5861050" y="0"/>
                </a:lnTo>
                <a:lnTo>
                  <a:pt x="5943600" y="22225"/>
                </a:lnTo>
                <a:lnTo>
                  <a:pt x="6026150" y="0"/>
                </a:lnTo>
                <a:lnTo>
                  <a:pt x="6108700" y="22225"/>
                </a:lnTo>
                <a:lnTo>
                  <a:pt x="6191250" y="0"/>
                </a:lnTo>
                <a:lnTo>
                  <a:pt x="6273800" y="22225"/>
                </a:lnTo>
                <a:lnTo>
                  <a:pt x="6356350" y="0"/>
                </a:lnTo>
                <a:lnTo>
                  <a:pt x="6438900" y="22225"/>
                </a:lnTo>
                <a:lnTo>
                  <a:pt x="6521450" y="0"/>
                </a:lnTo>
                <a:lnTo>
                  <a:pt x="6604000" y="22225"/>
                </a:lnTo>
                <a:lnTo>
                  <a:pt x="6686550" y="0"/>
                </a:lnTo>
                <a:lnTo>
                  <a:pt x="6769100" y="22225"/>
                </a:lnTo>
                <a:lnTo>
                  <a:pt x="6851650" y="0"/>
                </a:lnTo>
                <a:lnTo>
                  <a:pt x="6934200" y="22225"/>
                </a:lnTo>
                <a:lnTo>
                  <a:pt x="7016750" y="0"/>
                </a:lnTo>
                <a:lnTo>
                  <a:pt x="7099300" y="22225"/>
                </a:lnTo>
                <a:lnTo>
                  <a:pt x="7181850" y="0"/>
                </a:lnTo>
                <a:lnTo>
                  <a:pt x="7264400" y="22225"/>
                </a:lnTo>
                <a:lnTo>
                  <a:pt x="7346950" y="0"/>
                </a:lnTo>
                <a:lnTo>
                  <a:pt x="7429500" y="22225"/>
                </a:lnTo>
                <a:lnTo>
                  <a:pt x="7512050" y="0"/>
                </a:lnTo>
                <a:lnTo>
                  <a:pt x="7594600" y="22225"/>
                </a:lnTo>
                <a:lnTo>
                  <a:pt x="7677150" y="0"/>
                </a:lnTo>
                <a:lnTo>
                  <a:pt x="7759700" y="22225"/>
                </a:lnTo>
                <a:lnTo>
                  <a:pt x="7842250" y="0"/>
                </a:lnTo>
                <a:lnTo>
                  <a:pt x="7924800" y="22225"/>
                </a:lnTo>
                <a:lnTo>
                  <a:pt x="8007350" y="0"/>
                </a:lnTo>
                <a:lnTo>
                  <a:pt x="8089900" y="22225"/>
                </a:lnTo>
                <a:lnTo>
                  <a:pt x="8172450" y="0"/>
                </a:lnTo>
                <a:lnTo>
                  <a:pt x="8255000" y="22225"/>
                </a:lnTo>
                <a:lnTo>
                  <a:pt x="8337550" y="0"/>
                </a:lnTo>
                <a:lnTo>
                  <a:pt x="8420100" y="22225"/>
                </a:lnTo>
                <a:lnTo>
                  <a:pt x="8502650" y="0"/>
                </a:lnTo>
                <a:lnTo>
                  <a:pt x="8585200" y="22225"/>
                </a:lnTo>
                <a:lnTo>
                  <a:pt x="8667750" y="0"/>
                </a:lnTo>
                <a:lnTo>
                  <a:pt x="8750300" y="22225"/>
                </a:lnTo>
                <a:lnTo>
                  <a:pt x="8832850" y="0"/>
                </a:lnTo>
                <a:lnTo>
                  <a:pt x="8915400" y="22225"/>
                </a:lnTo>
                <a:lnTo>
                  <a:pt x="8997950" y="0"/>
                </a:lnTo>
                <a:lnTo>
                  <a:pt x="9080500" y="22225"/>
                </a:lnTo>
                <a:lnTo>
                  <a:pt x="9163050" y="0"/>
                </a:lnTo>
                <a:lnTo>
                  <a:pt x="9245600" y="22225"/>
                </a:lnTo>
                <a:lnTo>
                  <a:pt x="9328150" y="0"/>
                </a:lnTo>
                <a:lnTo>
                  <a:pt x="9410700" y="22225"/>
                </a:lnTo>
                <a:lnTo>
                  <a:pt x="9493250" y="0"/>
                </a:lnTo>
                <a:lnTo>
                  <a:pt x="9575800" y="22225"/>
                </a:lnTo>
                <a:lnTo>
                  <a:pt x="9658350" y="0"/>
                </a:lnTo>
                <a:lnTo>
                  <a:pt x="9740900" y="22225"/>
                </a:lnTo>
                <a:lnTo>
                  <a:pt x="9823450" y="0"/>
                </a:lnTo>
                <a:lnTo>
                  <a:pt x="9906000" y="22225"/>
                </a:lnTo>
                <a:lnTo>
                  <a:pt x="99885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cxnSp>
        <p:nvCxnSpPr>
          <p:cNvPr id="687" name="Straight Connector 686">
            <a:extLst>
              <a:ext uri="{FF2B5EF4-FFF2-40B4-BE49-F238E27FC236}">
                <a16:creationId xmlns="" xmlns:a16="http://schemas.microsoft.com/office/drawing/2014/main" id="{4F0D9976-7120-4B59-9168-A3D6600A9C38}"/>
              </a:ext>
            </a:extLst>
          </p:cNvPr>
          <p:cNvCxnSpPr/>
          <p:nvPr>
            <p:custDataLst>
              <p:tags r:id="rId259"/>
            </p:custDataLst>
          </p:nvPr>
        </p:nvCxnSpPr>
        <p:spPr bwMode="gray">
          <a:xfrm flipV="1">
            <a:off x="1638300" y="3492500"/>
            <a:ext cx="4513263" cy="2014538"/>
          </a:xfrm>
          <a:prstGeom prst="line">
            <a:avLst/>
          </a:prstGeom>
          <a:ln w="28575" cap="flat" cmpd="sng" algn="ctr">
            <a:solidFill>
              <a:srgbClr val="4C6C9C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8" name="Straight Connector 737">
            <a:extLst>
              <a:ext uri="{FF2B5EF4-FFF2-40B4-BE49-F238E27FC236}">
                <a16:creationId xmlns="" xmlns:a16="http://schemas.microsoft.com/office/drawing/2014/main" id="{A8A84A67-BFE4-4EEC-99B3-EA04468D7B41}"/>
              </a:ext>
            </a:extLst>
          </p:cNvPr>
          <p:cNvCxnSpPr/>
          <p:nvPr>
            <p:custDataLst>
              <p:tags r:id="rId260"/>
            </p:custDataLst>
          </p:nvPr>
        </p:nvCxnSpPr>
        <p:spPr bwMode="gray">
          <a:xfrm flipV="1">
            <a:off x="6151563" y="2760663"/>
            <a:ext cx="1895475" cy="731838"/>
          </a:xfrm>
          <a:prstGeom prst="line">
            <a:avLst/>
          </a:prstGeom>
          <a:ln w="28575" cap="flat" cmpd="sng" algn="ctr">
            <a:solidFill>
              <a:srgbClr val="4C6C9C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3" name="Straight Connector 742">
            <a:extLst>
              <a:ext uri="{FF2B5EF4-FFF2-40B4-BE49-F238E27FC236}">
                <a16:creationId xmlns="" xmlns:a16="http://schemas.microsoft.com/office/drawing/2014/main" id="{E81D9D5E-3E48-4BD0-9C48-1714CC060702}"/>
              </a:ext>
            </a:extLst>
          </p:cNvPr>
          <p:cNvCxnSpPr/>
          <p:nvPr>
            <p:custDataLst>
              <p:tags r:id="rId261"/>
            </p:custDataLst>
          </p:nvPr>
        </p:nvCxnSpPr>
        <p:spPr bwMode="gray">
          <a:xfrm flipV="1">
            <a:off x="8047037" y="2300288"/>
            <a:ext cx="3335338" cy="460375"/>
          </a:xfrm>
          <a:prstGeom prst="line">
            <a:avLst/>
          </a:prstGeom>
          <a:ln w="28575" cap="flat" cmpd="sng" algn="ctr">
            <a:solidFill>
              <a:srgbClr val="4C6C9C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1" name="Text Placeholder 2">
            <a:extLst>
              <a:ext uri="{FF2B5EF4-FFF2-40B4-BE49-F238E27FC236}">
                <a16:creationId xmlns="" xmlns:a16="http://schemas.microsoft.com/office/drawing/2014/main" id="{9F9C69BD-36D4-48B4-8B94-47E4BB7D0BDB}"/>
              </a:ext>
            </a:extLst>
          </p:cNvPr>
          <p:cNvSpPr>
            <a:spLocks noGrp="1"/>
          </p:cNvSpPr>
          <p:nvPr>
            <p:custDataLst>
              <p:tags r:id="rId262"/>
            </p:custDataLst>
          </p:nvPr>
        </p:nvSpPr>
        <p:spPr bwMode="auto">
          <a:xfrm>
            <a:off x="1389063" y="6202363"/>
            <a:ext cx="3683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74320" indent="-27432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7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258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544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830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16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40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4259A2A-9067-4838-8AAC-8DF37C9222CC}" type="datetime'''''''''''1''''9''5''''''''''''''''''''''''0'''''''''''''''''">
              <a:rPr lang="es-CL" altLang="en-US" sz="1400" smtClean="0"/>
              <a:pPr/>
              <a:t>1950</a:t>
            </a:fld>
            <a:endParaRPr lang="es-CL" sz="1400" dirty="0">
              <a:sym typeface="+mn-lt"/>
            </a:endParaRPr>
          </a:p>
        </p:txBody>
      </p:sp>
      <p:sp>
        <p:nvSpPr>
          <p:cNvPr id="658" name="Text Placeholder 2">
            <a:extLst>
              <a:ext uri="{FF2B5EF4-FFF2-40B4-BE49-F238E27FC236}">
                <a16:creationId xmlns="" xmlns:a16="http://schemas.microsoft.com/office/drawing/2014/main" id="{22446327-AE32-4602-8770-8D4BE2FF59E2}"/>
              </a:ext>
            </a:extLst>
          </p:cNvPr>
          <p:cNvSpPr>
            <a:spLocks noGrp="1"/>
          </p:cNvSpPr>
          <p:nvPr>
            <p:custDataLst>
              <p:tags r:id="rId263"/>
            </p:custDataLst>
          </p:nvPr>
        </p:nvSpPr>
        <p:spPr bwMode="auto">
          <a:xfrm>
            <a:off x="2043113" y="6202363"/>
            <a:ext cx="3683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74320" indent="-27432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7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258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544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830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16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40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846A9C-1D96-4F49-B402-8DBB9A29D63C}" type="datetime'''''''''''''''1''9''''''''''''''''''''''''6''''''''0'''">
              <a:rPr lang="es-CL" altLang="en-US" sz="1400" smtClean="0"/>
              <a:pPr/>
              <a:t>1960</a:t>
            </a:fld>
            <a:endParaRPr lang="es-CL" sz="1400" dirty="0">
              <a:sym typeface="+mn-lt"/>
            </a:endParaRPr>
          </a:p>
        </p:txBody>
      </p:sp>
      <p:sp>
        <p:nvSpPr>
          <p:cNvPr id="663" name="Text Placeholder 2">
            <a:extLst>
              <a:ext uri="{FF2B5EF4-FFF2-40B4-BE49-F238E27FC236}">
                <a16:creationId xmlns="" xmlns:a16="http://schemas.microsoft.com/office/drawing/2014/main" id="{08F8DA76-A8D6-4477-A02A-77541C20C7F5}"/>
              </a:ext>
            </a:extLst>
          </p:cNvPr>
          <p:cNvSpPr>
            <a:spLocks noGrp="1"/>
          </p:cNvSpPr>
          <p:nvPr>
            <p:custDataLst>
              <p:tags r:id="rId264"/>
            </p:custDataLst>
          </p:nvPr>
        </p:nvSpPr>
        <p:spPr bwMode="auto">
          <a:xfrm>
            <a:off x="2697163" y="6202363"/>
            <a:ext cx="3683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74320" indent="-27432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7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258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544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830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16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40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3107F09-B49E-410E-B6A7-277F06D004F3}" type="datetime'''''''''''''''''''''''''''''''1''''''''9''''7''''''''0'">
              <a:rPr lang="es-CL" altLang="en-US" sz="1400" smtClean="0"/>
              <a:pPr/>
              <a:t>1970</a:t>
            </a:fld>
            <a:endParaRPr lang="es-CL" sz="1400" dirty="0">
              <a:sym typeface="+mn-lt"/>
            </a:endParaRPr>
          </a:p>
        </p:txBody>
      </p:sp>
      <p:sp>
        <p:nvSpPr>
          <p:cNvPr id="718" name="Text Placeholder 2">
            <a:extLst>
              <a:ext uri="{FF2B5EF4-FFF2-40B4-BE49-F238E27FC236}">
                <a16:creationId xmlns="" xmlns:a16="http://schemas.microsoft.com/office/drawing/2014/main" id="{79A77B0C-2151-42FB-8F1D-2C7FC3D7DB4B}"/>
              </a:ext>
            </a:extLst>
          </p:cNvPr>
          <p:cNvSpPr>
            <a:spLocks noGrp="1"/>
          </p:cNvSpPr>
          <p:nvPr>
            <p:custDataLst>
              <p:tags r:id="rId265"/>
            </p:custDataLst>
          </p:nvPr>
        </p:nvSpPr>
        <p:spPr bwMode="auto">
          <a:xfrm>
            <a:off x="9890125" y="6202363"/>
            <a:ext cx="3683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74320" indent="-27432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7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258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544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830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16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40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FD34BE1-2BFF-4A97-A1D9-1750F597C66B}" type="datetime'''''''''''20''8''''0'''''''''''''''''''''''''''''''''''''">
              <a:rPr lang="es-CL" altLang="en-US" sz="1400" smtClean="0"/>
              <a:pPr/>
              <a:t>2080</a:t>
            </a:fld>
            <a:endParaRPr lang="es-CL" sz="1400" dirty="0">
              <a:sym typeface="+mn-lt"/>
            </a:endParaRPr>
          </a:p>
        </p:txBody>
      </p:sp>
      <p:sp>
        <p:nvSpPr>
          <p:cNvPr id="669" name="Text Placeholder 2">
            <a:extLst>
              <a:ext uri="{FF2B5EF4-FFF2-40B4-BE49-F238E27FC236}">
                <a16:creationId xmlns="" xmlns:a16="http://schemas.microsoft.com/office/drawing/2014/main" id="{A4E8AA72-105C-47FF-B7E2-9D0A1DA408A3}"/>
              </a:ext>
            </a:extLst>
          </p:cNvPr>
          <p:cNvSpPr>
            <a:spLocks noGrp="1"/>
          </p:cNvSpPr>
          <p:nvPr>
            <p:custDataLst>
              <p:tags r:id="rId266"/>
            </p:custDataLst>
          </p:nvPr>
        </p:nvSpPr>
        <p:spPr bwMode="auto">
          <a:xfrm>
            <a:off x="3351213" y="6202363"/>
            <a:ext cx="3683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74320" indent="-27432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7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258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544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830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16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40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D7A6A42-3E75-4A88-9690-65B44C2A21CF}" type="datetime'1''''9''''''''''''''''''''''''''''''''''''''''80'''''''">
              <a:rPr lang="es-CL" altLang="en-US" sz="1400" smtClean="0"/>
              <a:pPr/>
              <a:t>1980</a:t>
            </a:fld>
            <a:endParaRPr lang="es-CL" sz="1400" dirty="0">
              <a:sym typeface="+mn-lt"/>
            </a:endParaRPr>
          </a:p>
        </p:txBody>
      </p:sp>
      <p:sp>
        <p:nvSpPr>
          <p:cNvPr id="675" name="Text Placeholder 2">
            <a:extLst>
              <a:ext uri="{FF2B5EF4-FFF2-40B4-BE49-F238E27FC236}">
                <a16:creationId xmlns="" xmlns:a16="http://schemas.microsoft.com/office/drawing/2014/main" id="{B219E73E-8C41-4BAE-AD75-5C46B609F0B7}"/>
              </a:ext>
            </a:extLst>
          </p:cNvPr>
          <p:cNvSpPr>
            <a:spLocks noGrp="1"/>
          </p:cNvSpPr>
          <p:nvPr>
            <p:custDataLst>
              <p:tags r:id="rId267"/>
            </p:custDataLst>
          </p:nvPr>
        </p:nvSpPr>
        <p:spPr bwMode="auto">
          <a:xfrm>
            <a:off x="4005263" y="6202363"/>
            <a:ext cx="3683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74320" indent="-27432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7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258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544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830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16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40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904F147-1C14-42AF-A77B-336E1A9DF9DF}" type="datetime'''''''19''''9''''''''0'''''''''''''''''''">
              <a:rPr lang="es-CL" altLang="en-US" sz="1400" smtClean="0"/>
              <a:pPr/>
              <a:t>1990</a:t>
            </a:fld>
            <a:endParaRPr lang="es-CL" sz="1400" dirty="0">
              <a:sym typeface="+mn-lt"/>
            </a:endParaRPr>
          </a:p>
        </p:txBody>
      </p:sp>
      <p:sp>
        <p:nvSpPr>
          <p:cNvPr id="679" name="Text Placeholder 2">
            <a:extLst>
              <a:ext uri="{FF2B5EF4-FFF2-40B4-BE49-F238E27FC236}">
                <a16:creationId xmlns="" xmlns:a16="http://schemas.microsoft.com/office/drawing/2014/main" id="{0B9C0DB4-4A42-4395-860F-66EF28BA6A9D}"/>
              </a:ext>
            </a:extLst>
          </p:cNvPr>
          <p:cNvSpPr>
            <a:spLocks noGrp="1"/>
          </p:cNvSpPr>
          <p:nvPr>
            <p:custDataLst>
              <p:tags r:id="rId268"/>
            </p:custDataLst>
          </p:nvPr>
        </p:nvSpPr>
        <p:spPr bwMode="auto">
          <a:xfrm>
            <a:off x="4659313" y="6202363"/>
            <a:ext cx="3683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74320" indent="-27432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7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258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544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830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16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40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800481D-8F10-4FAF-B15F-D84005A34B12}" type="datetime'''''2''''''''0''0''''''''0'''''''''''''''''''''''">
              <a:rPr lang="es-CL" altLang="en-US" sz="1400" smtClean="0"/>
              <a:pPr/>
              <a:t>2000</a:t>
            </a:fld>
            <a:endParaRPr lang="es-CL" sz="1400" dirty="0">
              <a:sym typeface="+mn-lt"/>
            </a:endParaRPr>
          </a:p>
        </p:txBody>
      </p:sp>
      <p:sp>
        <p:nvSpPr>
          <p:cNvPr id="628" name="Text Placeholder 2">
            <a:extLst>
              <a:ext uri="{FF2B5EF4-FFF2-40B4-BE49-F238E27FC236}">
                <a16:creationId xmlns="" xmlns:a16="http://schemas.microsoft.com/office/drawing/2014/main" id="{9960A670-7B60-43B2-860E-C50AEBA9C49D}"/>
              </a:ext>
            </a:extLst>
          </p:cNvPr>
          <p:cNvSpPr>
            <a:spLocks noGrp="1"/>
          </p:cNvSpPr>
          <p:nvPr>
            <p:custDataLst>
              <p:tags r:id="rId269"/>
            </p:custDataLst>
          </p:nvPr>
        </p:nvSpPr>
        <p:spPr bwMode="auto">
          <a:xfrm>
            <a:off x="5967413" y="6202363"/>
            <a:ext cx="3683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74320" indent="-27432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7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258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544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830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16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40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A6D8025-2EE8-454D-9F7C-14A4FCD57040}" type="datetime'2''''''''''''''''''''''02''''''''''0'''">
              <a:rPr lang="es-CL" altLang="en-US" sz="14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es-CL" sz="1400" dirty="0">
              <a:sym typeface="+mn-lt"/>
            </a:endParaRPr>
          </a:p>
        </p:txBody>
      </p:sp>
      <p:sp>
        <p:nvSpPr>
          <p:cNvPr id="652" name="Text Placeholder 2">
            <a:extLst>
              <a:ext uri="{FF2B5EF4-FFF2-40B4-BE49-F238E27FC236}">
                <a16:creationId xmlns="" xmlns:a16="http://schemas.microsoft.com/office/drawing/2014/main" id="{D2762421-637B-4CB7-9BA6-D3B452C46093}"/>
              </a:ext>
            </a:extLst>
          </p:cNvPr>
          <p:cNvSpPr>
            <a:spLocks noGrp="1"/>
          </p:cNvSpPr>
          <p:nvPr>
            <p:custDataLst>
              <p:tags r:id="rId270"/>
            </p:custDataLst>
          </p:nvPr>
        </p:nvSpPr>
        <p:spPr bwMode="auto">
          <a:xfrm>
            <a:off x="6621463" y="6202363"/>
            <a:ext cx="3683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74320" indent="-27432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7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258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544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830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16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40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49926E-5819-4CB3-A37C-41EDE61AD622}" type="datetime'2''''''0''3''''''''''''''''''''''''''''''0'''''''''''''''''">
              <a:rPr lang="es-CL" altLang="en-US" sz="1400" smtClean="0"/>
              <a:pPr/>
              <a:t>2030</a:t>
            </a:fld>
            <a:endParaRPr lang="es-CL" sz="1400" dirty="0">
              <a:sym typeface="+mn-lt"/>
            </a:endParaRPr>
          </a:p>
        </p:txBody>
      </p:sp>
      <p:sp>
        <p:nvSpPr>
          <p:cNvPr id="707" name="Text Placeholder 2">
            <a:extLst>
              <a:ext uri="{FF2B5EF4-FFF2-40B4-BE49-F238E27FC236}">
                <a16:creationId xmlns="" xmlns:a16="http://schemas.microsoft.com/office/drawing/2014/main" id="{F8E62C38-B1CB-483E-8C88-F2164EA21907}"/>
              </a:ext>
            </a:extLst>
          </p:cNvPr>
          <p:cNvSpPr>
            <a:spLocks noGrp="1"/>
          </p:cNvSpPr>
          <p:nvPr>
            <p:custDataLst>
              <p:tags r:id="rId271"/>
            </p:custDataLst>
          </p:nvPr>
        </p:nvSpPr>
        <p:spPr bwMode="auto">
          <a:xfrm>
            <a:off x="8582025" y="6202363"/>
            <a:ext cx="3683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74320" indent="-27432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7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258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544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830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16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40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1BFB63F-4F79-4CF0-9B80-BF351B2C8BB5}" type="datetime'2''''0''''6''''''''''''''''''''0'''''''''''''''">
              <a:rPr lang="es-CL" altLang="en-US" sz="1400" smtClean="0"/>
              <a:pPr/>
              <a:t>2060</a:t>
            </a:fld>
            <a:endParaRPr lang="es-CL" sz="1400" dirty="0">
              <a:sym typeface="+mn-lt"/>
            </a:endParaRPr>
          </a:p>
        </p:txBody>
      </p:sp>
      <p:sp>
        <p:nvSpPr>
          <p:cNvPr id="712" name="Text Placeholder 2">
            <a:extLst>
              <a:ext uri="{FF2B5EF4-FFF2-40B4-BE49-F238E27FC236}">
                <a16:creationId xmlns="" xmlns:a16="http://schemas.microsoft.com/office/drawing/2014/main" id="{EECB9F3C-3747-4045-83AB-9C46F8B622F0}"/>
              </a:ext>
            </a:extLst>
          </p:cNvPr>
          <p:cNvSpPr>
            <a:spLocks noGrp="1"/>
          </p:cNvSpPr>
          <p:nvPr>
            <p:custDataLst>
              <p:tags r:id="rId272"/>
            </p:custDataLst>
          </p:nvPr>
        </p:nvSpPr>
        <p:spPr bwMode="auto">
          <a:xfrm>
            <a:off x="9236075" y="6202363"/>
            <a:ext cx="3683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74320" indent="-27432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7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258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544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830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16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40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0A6DC61-8106-4D47-BF29-5BCA92410531}" type="datetime'2''''''''''''''''''''''''''''''''0''''''''''''''7''''0'''''''">
              <a:rPr lang="es-CL" altLang="en-US" sz="1400" smtClean="0"/>
              <a:pPr/>
              <a:t>2070</a:t>
            </a:fld>
            <a:endParaRPr lang="es-CL" sz="1400" dirty="0">
              <a:sym typeface="+mn-lt"/>
            </a:endParaRPr>
          </a:p>
        </p:txBody>
      </p:sp>
      <p:sp>
        <p:nvSpPr>
          <p:cNvPr id="643" name="Text Placeholder 2">
            <a:extLst>
              <a:ext uri="{FF2B5EF4-FFF2-40B4-BE49-F238E27FC236}">
                <a16:creationId xmlns="" xmlns:a16="http://schemas.microsoft.com/office/drawing/2014/main" id="{A5A04B02-AB33-4755-A707-B13F5EBC3FAB}"/>
              </a:ext>
            </a:extLst>
          </p:cNvPr>
          <p:cNvSpPr>
            <a:spLocks noGrp="1"/>
          </p:cNvSpPr>
          <p:nvPr>
            <p:custDataLst>
              <p:tags r:id="rId273"/>
            </p:custDataLst>
          </p:nvPr>
        </p:nvSpPr>
        <p:spPr bwMode="auto">
          <a:xfrm>
            <a:off x="7927975" y="6202363"/>
            <a:ext cx="3683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74320" indent="-27432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7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258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544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830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16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40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BD6B1A7-67B7-45F2-B251-85A79891EC0B}" type="datetime'''''''''''''2''''05''''''''0'''''''''''''''''''''''''''">
              <a:rPr lang="es-CL" altLang="en-US" sz="1400" smtClean="0"/>
              <a:pPr/>
              <a:t>2050</a:t>
            </a:fld>
            <a:endParaRPr lang="es-CL" sz="1400" dirty="0">
              <a:sym typeface="+mn-lt"/>
            </a:endParaRPr>
          </a:p>
        </p:txBody>
      </p:sp>
      <p:sp>
        <p:nvSpPr>
          <p:cNvPr id="733" name="Text Placeholder 2">
            <a:extLst>
              <a:ext uri="{FF2B5EF4-FFF2-40B4-BE49-F238E27FC236}">
                <a16:creationId xmlns="" xmlns:a16="http://schemas.microsoft.com/office/drawing/2014/main" id="{46A907F1-E33D-4A80-9260-99C497581FB6}"/>
              </a:ext>
            </a:extLst>
          </p:cNvPr>
          <p:cNvSpPr>
            <a:spLocks noGrp="1"/>
          </p:cNvSpPr>
          <p:nvPr>
            <p:custDataLst>
              <p:tags r:id="rId274"/>
            </p:custDataLst>
          </p:nvPr>
        </p:nvSpPr>
        <p:spPr bwMode="auto">
          <a:xfrm>
            <a:off x="11198225" y="6202363"/>
            <a:ext cx="3683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74320" indent="-27432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7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258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544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830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16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40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667278C-3365-4DCD-A20A-E40EE8D20C91}" type="datetime'''''''''''''2''''1''''''''''''''''0''''''0'''''">
              <a:rPr lang="es-CL" altLang="en-US" sz="1400" smtClean="0"/>
              <a:pPr/>
              <a:t>2100</a:t>
            </a:fld>
            <a:endParaRPr lang="es-CL" sz="1400" dirty="0">
              <a:sym typeface="+mn-lt"/>
            </a:endParaRPr>
          </a:p>
        </p:txBody>
      </p:sp>
      <p:sp>
        <p:nvSpPr>
          <p:cNvPr id="683" name="Text Placeholder 2">
            <a:extLst>
              <a:ext uri="{FF2B5EF4-FFF2-40B4-BE49-F238E27FC236}">
                <a16:creationId xmlns="" xmlns:a16="http://schemas.microsoft.com/office/drawing/2014/main" id="{ECA255FF-790F-4F8A-BDF7-9138A446FF49}"/>
              </a:ext>
            </a:extLst>
          </p:cNvPr>
          <p:cNvSpPr>
            <a:spLocks noGrp="1"/>
          </p:cNvSpPr>
          <p:nvPr>
            <p:custDataLst>
              <p:tags r:id="rId275"/>
            </p:custDataLst>
          </p:nvPr>
        </p:nvSpPr>
        <p:spPr bwMode="auto">
          <a:xfrm>
            <a:off x="5313363" y="6202363"/>
            <a:ext cx="3683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74320" indent="-27432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7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258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544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830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16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40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78A7C88-536F-46AB-ABBD-316785D4B8EC}" type="datetime'''''''''''2''''''''''''''''''''''0''''''''''1''''''0'''''">
              <a:rPr lang="es-CL" altLang="en-US" sz="1400" smtClean="0"/>
              <a:pPr/>
              <a:t>2010</a:t>
            </a:fld>
            <a:endParaRPr lang="es-CL" sz="1400" dirty="0">
              <a:sym typeface="+mn-lt"/>
            </a:endParaRPr>
          </a:p>
        </p:txBody>
      </p:sp>
      <p:sp>
        <p:nvSpPr>
          <p:cNvPr id="637" name="Text Placeholder 2">
            <a:extLst>
              <a:ext uri="{FF2B5EF4-FFF2-40B4-BE49-F238E27FC236}">
                <a16:creationId xmlns="" xmlns:a16="http://schemas.microsoft.com/office/drawing/2014/main" id="{F8EDA6DF-5F27-4BD1-BF35-3AF79E423C41}"/>
              </a:ext>
            </a:extLst>
          </p:cNvPr>
          <p:cNvSpPr>
            <a:spLocks noGrp="1"/>
          </p:cNvSpPr>
          <p:nvPr>
            <p:custDataLst>
              <p:tags r:id="rId276"/>
            </p:custDataLst>
          </p:nvPr>
        </p:nvSpPr>
        <p:spPr bwMode="auto">
          <a:xfrm>
            <a:off x="7273925" y="6202363"/>
            <a:ext cx="3683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74320" indent="-27432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7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258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544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830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16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40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06D052-61D8-47F9-AA7E-81CDF254B9FC}" type="datetime'''''''''2''''''''''''''''0''''''4''''''''''''''0'''''''''''">
              <a:rPr lang="es-CL" altLang="en-US" sz="1400" smtClean="0"/>
              <a:pPr/>
              <a:t>2040</a:t>
            </a:fld>
            <a:endParaRPr lang="es-CL" sz="1400" dirty="0">
              <a:sym typeface="+mn-lt"/>
            </a:endParaRPr>
          </a:p>
        </p:txBody>
      </p:sp>
      <p:sp>
        <p:nvSpPr>
          <p:cNvPr id="735" name="Text Placeholder 2">
            <a:extLst>
              <a:ext uri="{FF2B5EF4-FFF2-40B4-BE49-F238E27FC236}">
                <a16:creationId xmlns="" xmlns:a16="http://schemas.microsoft.com/office/drawing/2014/main" id="{95A9FE81-FDFB-4812-AEC6-691AC955B47B}"/>
              </a:ext>
            </a:extLst>
          </p:cNvPr>
          <p:cNvSpPr>
            <a:spLocks noGrp="1"/>
          </p:cNvSpPr>
          <p:nvPr>
            <p:custDataLst>
              <p:tags r:id="rId277"/>
            </p:custDataLst>
          </p:nvPr>
        </p:nvSpPr>
        <p:spPr bwMode="gray">
          <a:xfrm>
            <a:off x="11201400" y="2487613"/>
            <a:ext cx="3619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74320" indent="-27432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7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258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544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830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16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40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037A3A7-5FFD-405D-B05F-EA0AE59A9B5A}" type="datetime'''''1''''''''''''''0'''''''''''''''''''',''9'''''''''''''">
              <a:rPr lang="es-CL" altLang="en-US" sz="1400" b="1" smtClean="0"/>
              <a:pPr/>
              <a:t>10,9</a:t>
            </a:fld>
            <a:endParaRPr lang="es-CL" sz="1400" b="1" dirty="0">
              <a:sym typeface="+mn-lt"/>
            </a:endParaRPr>
          </a:p>
        </p:txBody>
      </p:sp>
      <p:sp>
        <p:nvSpPr>
          <p:cNvPr id="700" name="Text Placeholder 2">
            <a:extLst>
              <a:ext uri="{FF2B5EF4-FFF2-40B4-BE49-F238E27FC236}">
                <a16:creationId xmlns="" xmlns:a16="http://schemas.microsoft.com/office/drawing/2014/main" id="{C92E92C7-D6D7-491C-826D-01EE2E256898}"/>
              </a:ext>
            </a:extLst>
          </p:cNvPr>
          <p:cNvSpPr>
            <a:spLocks noGrp="1"/>
          </p:cNvSpPr>
          <p:nvPr>
            <p:custDataLst>
              <p:tags r:id="rId278"/>
            </p:custDataLst>
          </p:nvPr>
        </p:nvSpPr>
        <p:spPr bwMode="gray">
          <a:xfrm>
            <a:off x="1535113" y="5683250"/>
            <a:ext cx="2730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74320" indent="-27432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7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258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544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830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16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40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A63CE4D-AA44-4B73-B12A-EFEB6E5A6181}" type="datetime'2'''''',''''''''''''''''''''''''''''''''''''5'''''''''''''">
              <a:rPr lang="es-CL" altLang="en-US" sz="1400" b="1" smtClean="0"/>
              <a:pPr/>
              <a:t>2,5</a:t>
            </a:fld>
            <a:endParaRPr lang="es-CL" sz="1400" b="1" dirty="0">
              <a:sym typeface="+mn-lt"/>
            </a:endParaRPr>
          </a:p>
        </p:txBody>
      </p:sp>
      <p:sp>
        <p:nvSpPr>
          <p:cNvPr id="701" name="Text Placeholder 2">
            <a:extLst>
              <a:ext uri="{FF2B5EF4-FFF2-40B4-BE49-F238E27FC236}">
                <a16:creationId xmlns="" xmlns:a16="http://schemas.microsoft.com/office/drawing/2014/main" id="{3F16D7A5-1D00-4E91-B01D-9E645F864790}"/>
              </a:ext>
            </a:extLst>
          </p:cNvPr>
          <p:cNvSpPr>
            <a:spLocks noGrp="1"/>
          </p:cNvSpPr>
          <p:nvPr>
            <p:custDataLst>
              <p:tags r:id="rId279"/>
            </p:custDataLst>
          </p:nvPr>
        </p:nvSpPr>
        <p:spPr bwMode="gray">
          <a:xfrm>
            <a:off x="5976938" y="3671888"/>
            <a:ext cx="2730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74320" indent="-27432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7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258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544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830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16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40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F5C7262-C182-465F-9A3C-D69B090B9189}" type="datetime'''''''''''''''''7'''''''''''',''''''''''''''''''''''''8'''''''">
              <a:rPr lang="es-CL" altLang="en-US" sz="1400" b="1" smtClean="0"/>
              <a:pPr/>
              <a:t>7,8</a:t>
            </a:fld>
            <a:endParaRPr lang="es-CL" sz="1400" b="1" dirty="0">
              <a:sym typeface="+mn-lt"/>
            </a:endParaRPr>
          </a:p>
        </p:txBody>
      </p:sp>
      <p:sp>
        <p:nvSpPr>
          <p:cNvPr id="1267" name="Text Placeholder 2">
            <a:extLst>
              <a:ext uri="{FF2B5EF4-FFF2-40B4-BE49-F238E27FC236}">
                <a16:creationId xmlns="" xmlns:a16="http://schemas.microsoft.com/office/drawing/2014/main" id="{0C3B0FEF-A284-4149-8CFA-EC4BF0FC9216}"/>
              </a:ext>
            </a:extLst>
          </p:cNvPr>
          <p:cNvSpPr>
            <a:spLocks noGrp="1"/>
          </p:cNvSpPr>
          <p:nvPr>
            <p:custDataLst>
              <p:tags r:id="rId280"/>
            </p:custDataLst>
          </p:nvPr>
        </p:nvSpPr>
        <p:spPr bwMode="gray">
          <a:xfrm>
            <a:off x="7939088" y="2928938"/>
            <a:ext cx="2730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74320" indent="-27432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7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258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544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830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16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40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E38DFD-3C7B-4140-92EE-3CBEE31A9ECD}" type="datetime'''''''9'''''''''''''',''''''''7'">
              <a:rPr lang="es-CL" altLang="en-US" sz="1400" b="1" smtClean="0">
                <a:sym typeface="+mn-lt"/>
              </a:rPr>
              <a:pPr/>
              <a:t>9,7</a:t>
            </a:fld>
            <a:endParaRPr lang="es-CL" sz="1400" b="1" dirty="0">
              <a:sym typeface="+mn-lt"/>
            </a:endParaRPr>
          </a:p>
        </p:txBody>
      </p:sp>
      <p:sp>
        <p:nvSpPr>
          <p:cNvPr id="728" name="Text Placeholder 2">
            <a:extLst>
              <a:ext uri="{FF2B5EF4-FFF2-40B4-BE49-F238E27FC236}">
                <a16:creationId xmlns="" xmlns:a16="http://schemas.microsoft.com/office/drawing/2014/main" id="{486C3605-2C9C-4AF0-8D10-8193CD37178B}"/>
              </a:ext>
            </a:extLst>
          </p:cNvPr>
          <p:cNvSpPr>
            <a:spLocks noGrp="1"/>
          </p:cNvSpPr>
          <p:nvPr>
            <p:custDataLst>
              <p:tags r:id="rId281"/>
            </p:custDataLst>
          </p:nvPr>
        </p:nvSpPr>
        <p:spPr bwMode="auto">
          <a:xfrm>
            <a:off x="10544175" y="6202363"/>
            <a:ext cx="3683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74320" indent="-27432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7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258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544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830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16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40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1F1209-3272-4CC6-8665-4EDCDA9F761C}" type="datetime'''''''''''''''''''''2''0''''''''9''0'''''">
              <a:rPr lang="es-CL" altLang="en-US" sz="1400" smtClean="0"/>
              <a:pPr/>
              <a:t>2090</a:t>
            </a:fld>
            <a:endParaRPr lang="es-CL" sz="1400" dirty="0">
              <a:sym typeface="+mn-lt"/>
            </a:endParaRPr>
          </a:p>
        </p:txBody>
      </p:sp>
      <p:sp>
        <p:nvSpPr>
          <p:cNvPr id="686" name="Text Placeholder 2">
            <a:extLst>
              <a:ext uri="{FF2B5EF4-FFF2-40B4-BE49-F238E27FC236}">
                <a16:creationId xmlns="" xmlns:a16="http://schemas.microsoft.com/office/drawing/2014/main" id="{F2473B0C-2995-4C60-9563-1897947EDFFA}"/>
              </a:ext>
            </a:extLst>
          </p:cNvPr>
          <p:cNvSpPr>
            <a:spLocks noGrp="1"/>
          </p:cNvSpPr>
          <p:nvPr>
            <p:custDataLst>
              <p:tags r:id="rId282"/>
            </p:custDataLst>
          </p:nvPr>
        </p:nvSpPr>
        <p:spPr bwMode="auto">
          <a:xfrm>
            <a:off x="3548063" y="4362450"/>
            <a:ext cx="692150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4C6C9C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74320" indent="-27432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7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258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544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830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16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40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B7D90C-3849-4009-847D-8FA47C495809}" type="datetime'''''''''''''+''1,6''''''''''''%'''''''''">
              <a:rPr lang="es-CL" altLang="en-US" sz="1400" b="1" smtClean="0">
                <a:solidFill>
                  <a:srgbClr val="6F8DB9"/>
                </a:solidFill>
              </a:rPr>
              <a:pPr/>
              <a:t>+1,6%</a:t>
            </a:fld>
            <a:endParaRPr lang="es-CL" sz="1400" b="1" dirty="0">
              <a:solidFill>
                <a:srgbClr val="6F8DB9"/>
              </a:solidFill>
              <a:sym typeface="+mn-lt"/>
            </a:endParaRPr>
          </a:p>
        </p:txBody>
      </p:sp>
      <p:sp>
        <p:nvSpPr>
          <p:cNvPr id="737" name="Text Placeholder 2">
            <a:extLst>
              <a:ext uri="{FF2B5EF4-FFF2-40B4-BE49-F238E27FC236}">
                <a16:creationId xmlns="" xmlns:a16="http://schemas.microsoft.com/office/drawing/2014/main" id="{A054ADFB-BA79-4D1A-B209-895FA13CA029}"/>
              </a:ext>
            </a:extLst>
          </p:cNvPr>
          <p:cNvSpPr>
            <a:spLocks noGrp="1"/>
          </p:cNvSpPr>
          <p:nvPr>
            <p:custDataLst>
              <p:tags r:id="rId283"/>
            </p:custDataLst>
          </p:nvPr>
        </p:nvSpPr>
        <p:spPr bwMode="auto">
          <a:xfrm>
            <a:off x="6753225" y="2989263"/>
            <a:ext cx="692150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4C6C9C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74320" indent="-27432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7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258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544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830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16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40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1BF095-16DD-4100-A4E0-5C6449F5A394}" type="datetime'''''+0'',''''''''''''''''''''''''''''''''''8''%'''">
              <a:rPr lang="es-CL" altLang="en-US" sz="1400" b="1" smtClean="0">
                <a:solidFill>
                  <a:srgbClr val="6F8DB9"/>
                </a:solidFill>
              </a:rPr>
              <a:pPr/>
              <a:t>+0,8%</a:t>
            </a:fld>
            <a:endParaRPr lang="es-CL" sz="1400" b="1" dirty="0">
              <a:solidFill>
                <a:srgbClr val="6F8DB9"/>
              </a:solidFill>
              <a:sym typeface="+mn-lt"/>
            </a:endParaRPr>
          </a:p>
        </p:txBody>
      </p:sp>
      <p:sp>
        <p:nvSpPr>
          <p:cNvPr id="742" name="Text Placeholder 2">
            <a:extLst>
              <a:ext uri="{FF2B5EF4-FFF2-40B4-BE49-F238E27FC236}">
                <a16:creationId xmlns="" xmlns:a16="http://schemas.microsoft.com/office/drawing/2014/main" id="{E6E2E976-FFF2-40C2-92A2-D658D267B509}"/>
              </a:ext>
            </a:extLst>
          </p:cNvPr>
          <p:cNvSpPr>
            <a:spLocks noGrp="1"/>
          </p:cNvSpPr>
          <p:nvPr>
            <p:custDataLst>
              <p:tags r:id="rId284"/>
            </p:custDataLst>
          </p:nvPr>
        </p:nvSpPr>
        <p:spPr bwMode="auto">
          <a:xfrm>
            <a:off x="9367838" y="2393950"/>
            <a:ext cx="692150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4C6C9C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74320" indent="-27432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7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258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544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830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16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40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2888C75-B1F2-4AC6-A823-8B0E169575A0}" type="datetime'+''''''''''''0'''',''''''''''''''''''''''''''2''''%'''''''''">
              <a:rPr lang="es-CL" altLang="en-US" sz="1400" b="1" smtClean="0">
                <a:solidFill>
                  <a:srgbClr val="6F8DB9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0,2%</a:t>
            </a:fld>
            <a:endParaRPr lang="es-CL" sz="1400" b="1" dirty="0">
              <a:solidFill>
                <a:srgbClr val="6F8DB9"/>
              </a:solidFill>
              <a:sym typeface="+mn-lt"/>
            </a:endParaRPr>
          </a:p>
        </p:txBody>
      </p:sp>
      <p:sp>
        <p:nvSpPr>
          <p:cNvPr id="1279" name="TextBox 1278">
            <a:extLst>
              <a:ext uri="{FF2B5EF4-FFF2-40B4-BE49-F238E27FC236}">
                <a16:creationId xmlns="" xmlns:a16="http://schemas.microsoft.com/office/drawing/2014/main" id="{02C11B1C-F9A7-4893-87BC-5FBDC99B3E00}"/>
              </a:ext>
            </a:extLst>
          </p:cNvPr>
          <p:cNvSpPr txBox="1"/>
          <p:nvPr/>
        </p:nvSpPr>
        <p:spPr>
          <a:xfrm>
            <a:off x="3895725" y="1753672"/>
            <a:ext cx="51006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err="1"/>
              <a:t>Proyección</a:t>
            </a:r>
            <a:r>
              <a:rPr lang="en-US" dirty="0"/>
              <a:t> Población Global (miles de Millones) </a:t>
            </a:r>
            <a:endParaRPr lang="es-CL" dirty="0"/>
          </a:p>
        </p:txBody>
      </p:sp>
      <p:sp>
        <p:nvSpPr>
          <p:cNvPr id="1283" name="TextBox 1282">
            <a:extLst>
              <a:ext uri="{FF2B5EF4-FFF2-40B4-BE49-F238E27FC236}">
                <a16:creationId xmlns="" xmlns:a16="http://schemas.microsoft.com/office/drawing/2014/main" id="{7D185298-CA49-4CF4-BEAC-B1E145C508E4}"/>
              </a:ext>
            </a:extLst>
          </p:cNvPr>
          <p:cNvSpPr txBox="1"/>
          <p:nvPr/>
        </p:nvSpPr>
        <p:spPr>
          <a:xfrm>
            <a:off x="8374367" y="6596390"/>
            <a:ext cx="399036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Fuente: World population prospects 2019 United Nation</a:t>
            </a:r>
            <a:endParaRPr lang="es-CL" sz="1100" dirty="0"/>
          </a:p>
        </p:txBody>
      </p:sp>
    </p:spTree>
    <p:extLst>
      <p:ext uri="{BB962C8B-B14F-4D97-AF65-F5344CB8AC3E}">
        <p14:creationId xmlns:p14="http://schemas.microsoft.com/office/powerpoint/2010/main" val="3779585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1FC549ED-7C4C-42E4-9772-90702291001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978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1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>
            <a:extLst>
              <a:ext uri="{FF2B5EF4-FFF2-40B4-BE49-F238E27FC236}">
                <a16:creationId xmlns="" xmlns:a16="http://schemas.microsoft.com/office/drawing/2014/main" id="{5644A5ED-FAAD-419D-B090-4ECFB8DCAC1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>
              <a:latin typeface="Book Antiqua" panose="02040602050305030304" pitchFamily="18" charset="0"/>
              <a:ea typeface="+mj-ea"/>
              <a:cs typeface="+mj-cs"/>
              <a:sym typeface="Book Antiqua" panose="02040602050305030304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FFC82F69-4B64-4577-A9C4-262A688241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/>
              <a:t>Contexto</a:t>
            </a:r>
          </a:p>
        </p:txBody>
      </p:sp>
      <p:pic>
        <p:nvPicPr>
          <p:cNvPr id="6" name="Graphic 5" descr="Earth globe Americas">
            <a:extLst>
              <a:ext uri="{FF2B5EF4-FFF2-40B4-BE49-F238E27FC236}">
                <a16:creationId xmlns="" xmlns:a16="http://schemas.microsoft.com/office/drawing/2014/main" id="{3D69AA55-019B-402C-B89D-CEB4581CD99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755194" y="2975397"/>
            <a:ext cx="2506298" cy="2506298"/>
          </a:xfrm>
          <a:prstGeom prst="rect">
            <a:avLst/>
          </a:prstGeom>
        </p:spPr>
      </p:pic>
      <p:sp>
        <p:nvSpPr>
          <p:cNvPr id="81" name="TextBox 80">
            <a:extLst>
              <a:ext uri="{FF2B5EF4-FFF2-40B4-BE49-F238E27FC236}">
                <a16:creationId xmlns="" xmlns:a16="http://schemas.microsoft.com/office/drawing/2014/main" id="{652152BE-8901-42BA-B216-C9D223AE12B8}"/>
              </a:ext>
            </a:extLst>
          </p:cNvPr>
          <p:cNvSpPr txBox="1"/>
          <p:nvPr/>
        </p:nvSpPr>
        <p:spPr>
          <a:xfrm>
            <a:off x="9394500" y="6596390"/>
            <a:ext cx="323006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100">
                <a:solidFill>
                  <a:schemeClr val="accent6"/>
                </a:solidFill>
              </a:rPr>
              <a:t>Fuente: 100 People: un retrato del mundo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="" xmlns:a16="http://schemas.microsoft.com/office/drawing/2014/main" id="{23DEB01E-EB7F-46FB-921A-3C0C745310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0424743"/>
              </p:ext>
            </p:extLst>
          </p:nvPr>
        </p:nvGraphicFramePr>
        <p:xfrm>
          <a:off x="158879" y="3497373"/>
          <a:ext cx="2288858" cy="175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2769">
                  <a:extLst>
                    <a:ext uri="{9D8B030D-6E8A-4147-A177-3AD203B41FA5}">
                      <a16:colId xmlns="" xmlns:a16="http://schemas.microsoft.com/office/drawing/2014/main" val="2321483919"/>
                    </a:ext>
                  </a:extLst>
                </a:gridCol>
                <a:gridCol w="1886089">
                  <a:extLst>
                    <a:ext uri="{9D8B030D-6E8A-4147-A177-3AD203B41FA5}">
                      <a16:colId xmlns="" xmlns:a16="http://schemas.microsoft.com/office/drawing/2014/main" val="3992527214"/>
                    </a:ext>
                  </a:extLst>
                </a:gridCol>
              </a:tblGrid>
              <a:tr h="1758720">
                <a:tc>
                  <a:txBody>
                    <a:bodyPr/>
                    <a:lstStyle/>
                    <a:p>
                      <a:pPr algn="ctr"/>
                      <a:r>
                        <a:rPr lang="es-CL" sz="1400"/>
                        <a:t>Religion</a:t>
                      </a:r>
                      <a:endParaRPr lang="es-CL" sz="1400" dirty="0"/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endParaRPr lang="es-CL" sz="1400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s-CL" sz="1400" b="0" dirty="0">
                          <a:solidFill>
                            <a:schemeClr val="tx1"/>
                          </a:solidFill>
                        </a:rPr>
                        <a:t>31 Cristianos</a:t>
                      </a:r>
                    </a:p>
                    <a:p>
                      <a:r>
                        <a:rPr lang="es-CL" sz="1400" b="0" dirty="0">
                          <a:solidFill>
                            <a:schemeClr val="tx1"/>
                          </a:solidFill>
                        </a:rPr>
                        <a:t>23 Musulmanes</a:t>
                      </a:r>
                    </a:p>
                    <a:p>
                      <a:r>
                        <a:rPr lang="es-CL" sz="1400" b="0" dirty="0">
                          <a:solidFill>
                            <a:schemeClr val="tx1"/>
                          </a:solidFill>
                        </a:rPr>
                        <a:t>15 Hindúes</a:t>
                      </a:r>
                    </a:p>
                    <a:p>
                      <a:r>
                        <a:rPr lang="es-CL" sz="1400" b="0" dirty="0">
                          <a:solidFill>
                            <a:schemeClr val="tx1"/>
                          </a:solidFill>
                        </a:rPr>
                        <a:t>7   Budistas</a:t>
                      </a:r>
                    </a:p>
                    <a:p>
                      <a:r>
                        <a:rPr lang="es-CL" sz="1400" b="0" dirty="0">
                          <a:solidFill>
                            <a:schemeClr val="tx1"/>
                          </a:solidFill>
                        </a:rPr>
                        <a:t>8   Otros</a:t>
                      </a:r>
                    </a:p>
                    <a:p>
                      <a:r>
                        <a:rPr lang="es-CL" sz="1400" b="0" dirty="0">
                          <a:solidFill>
                            <a:schemeClr val="tx1"/>
                          </a:solidFill>
                        </a:rPr>
                        <a:t>16 No religiosos</a:t>
                      </a:r>
                      <a:endParaRPr lang="es-CL" sz="1400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697505861"/>
                  </a:ext>
                </a:extLst>
              </a:tr>
            </a:tbl>
          </a:graphicData>
        </a:graphic>
      </p:graphicFrame>
      <p:sp>
        <p:nvSpPr>
          <p:cNvPr id="95" name="Rectangle 94">
            <a:extLst>
              <a:ext uri="{FF2B5EF4-FFF2-40B4-BE49-F238E27FC236}">
                <a16:creationId xmlns="" xmlns:a16="http://schemas.microsoft.com/office/drawing/2014/main" id="{654F0656-89AF-4C84-9D9F-DEC5B06BE304}"/>
              </a:ext>
            </a:extLst>
          </p:cNvPr>
          <p:cNvSpPr/>
          <p:nvPr/>
        </p:nvSpPr>
        <p:spPr>
          <a:xfrm>
            <a:off x="289655" y="3585659"/>
            <a:ext cx="1796354" cy="168182"/>
          </a:xfrm>
          <a:prstGeom prst="rect">
            <a:avLst/>
          </a:prstGeom>
          <a:solidFill>
            <a:srgbClr val="F0D6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graphicFrame>
        <p:nvGraphicFramePr>
          <p:cNvPr id="98" name="Table 97">
            <a:extLst>
              <a:ext uri="{FF2B5EF4-FFF2-40B4-BE49-F238E27FC236}">
                <a16:creationId xmlns="" xmlns:a16="http://schemas.microsoft.com/office/drawing/2014/main" id="{678A43D4-4F98-48F3-B834-EF6D81D70C6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8777235"/>
              </p:ext>
            </p:extLst>
          </p:nvPr>
        </p:nvGraphicFramePr>
        <p:xfrm>
          <a:off x="262135" y="1678622"/>
          <a:ext cx="2288858" cy="16301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2769">
                  <a:extLst>
                    <a:ext uri="{9D8B030D-6E8A-4147-A177-3AD203B41FA5}">
                      <a16:colId xmlns="" xmlns:a16="http://schemas.microsoft.com/office/drawing/2014/main" val="2321483919"/>
                    </a:ext>
                  </a:extLst>
                </a:gridCol>
                <a:gridCol w="1886089">
                  <a:extLst>
                    <a:ext uri="{9D8B030D-6E8A-4147-A177-3AD203B41FA5}">
                      <a16:colId xmlns="" xmlns:a16="http://schemas.microsoft.com/office/drawing/2014/main" val="3992527214"/>
                    </a:ext>
                  </a:extLst>
                </a:gridCol>
              </a:tblGrid>
              <a:tr h="1630139">
                <a:tc>
                  <a:txBody>
                    <a:bodyPr/>
                    <a:lstStyle/>
                    <a:p>
                      <a:pPr algn="ctr"/>
                      <a:r>
                        <a:rPr lang="es-CL" sz="1400"/>
                        <a:t>Contnentes</a:t>
                      </a:r>
                      <a:endParaRPr lang="es-CL" sz="1400" dirty="0"/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endParaRPr lang="es-CL" sz="1400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s-CL" sz="1400" b="0" dirty="0">
                          <a:solidFill>
                            <a:schemeClr val="tx1"/>
                          </a:solidFill>
                        </a:rPr>
                        <a:t>60 Asiáticos</a:t>
                      </a:r>
                    </a:p>
                    <a:p>
                      <a:r>
                        <a:rPr lang="es-CL" sz="1400" b="0" dirty="0">
                          <a:solidFill>
                            <a:schemeClr val="tx1"/>
                          </a:solidFill>
                        </a:rPr>
                        <a:t>10 Europeos</a:t>
                      </a:r>
                    </a:p>
                    <a:p>
                      <a:r>
                        <a:rPr lang="es-CL" sz="1400" b="0" dirty="0">
                          <a:solidFill>
                            <a:schemeClr val="tx1"/>
                          </a:solidFill>
                        </a:rPr>
                        <a:t>14 de América</a:t>
                      </a:r>
                    </a:p>
                    <a:p>
                      <a:r>
                        <a:rPr lang="es-CL" sz="1400" b="0" dirty="0">
                          <a:solidFill>
                            <a:schemeClr val="tx1"/>
                          </a:solidFill>
                        </a:rPr>
                        <a:t>16 Africanos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697505861"/>
                  </a:ext>
                </a:extLst>
              </a:tr>
            </a:tbl>
          </a:graphicData>
        </a:graphic>
      </p:graphicFrame>
      <p:sp>
        <p:nvSpPr>
          <p:cNvPr id="99" name="Rectangle 98">
            <a:extLst>
              <a:ext uri="{FF2B5EF4-FFF2-40B4-BE49-F238E27FC236}">
                <a16:creationId xmlns="" xmlns:a16="http://schemas.microsoft.com/office/drawing/2014/main" id="{26ADE1D2-6624-4FF6-8671-E39D6A527F8F}"/>
              </a:ext>
            </a:extLst>
          </p:cNvPr>
          <p:cNvSpPr/>
          <p:nvPr/>
        </p:nvSpPr>
        <p:spPr>
          <a:xfrm>
            <a:off x="392911" y="1766910"/>
            <a:ext cx="1796354" cy="168182"/>
          </a:xfrm>
          <a:prstGeom prst="rect">
            <a:avLst/>
          </a:prstGeom>
          <a:solidFill>
            <a:srgbClr val="F0D6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grpSp>
        <p:nvGrpSpPr>
          <p:cNvPr id="16" name="Group 15">
            <a:extLst>
              <a:ext uri="{FF2B5EF4-FFF2-40B4-BE49-F238E27FC236}">
                <a16:creationId xmlns="" xmlns:a16="http://schemas.microsoft.com/office/drawing/2014/main" id="{B8B34280-BCBF-4597-B320-217C04E063E1}"/>
              </a:ext>
            </a:extLst>
          </p:cNvPr>
          <p:cNvGrpSpPr/>
          <p:nvPr/>
        </p:nvGrpSpPr>
        <p:grpSpPr>
          <a:xfrm>
            <a:off x="9665818" y="3382313"/>
            <a:ext cx="2367303" cy="1401912"/>
            <a:chOff x="2642323" y="1778085"/>
            <a:chExt cx="2367303" cy="1401912"/>
          </a:xfrm>
        </p:grpSpPr>
        <p:grpSp>
          <p:nvGrpSpPr>
            <p:cNvPr id="14" name="Group 13">
              <a:extLst>
                <a:ext uri="{FF2B5EF4-FFF2-40B4-BE49-F238E27FC236}">
                  <a16:creationId xmlns="" xmlns:a16="http://schemas.microsoft.com/office/drawing/2014/main" id="{FA6F4BAE-9561-4A62-8219-44DEE71F07E0}"/>
                </a:ext>
              </a:extLst>
            </p:cNvPr>
            <p:cNvGrpSpPr/>
            <p:nvPr/>
          </p:nvGrpSpPr>
          <p:grpSpPr>
            <a:xfrm>
              <a:off x="2682049" y="1778085"/>
              <a:ext cx="2327577" cy="1401912"/>
              <a:chOff x="2682049" y="1778085"/>
              <a:chExt cx="2327577" cy="1401912"/>
            </a:xfrm>
          </p:grpSpPr>
          <p:sp>
            <p:nvSpPr>
              <p:cNvPr id="104" name="Rectangle 103">
                <a:extLst>
                  <a:ext uri="{FF2B5EF4-FFF2-40B4-BE49-F238E27FC236}">
                    <a16:creationId xmlns="" xmlns:a16="http://schemas.microsoft.com/office/drawing/2014/main" id="{B84207BE-429F-48C4-BE16-CE0F264B1718}"/>
                  </a:ext>
                </a:extLst>
              </p:cNvPr>
              <p:cNvSpPr/>
              <p:nvPr/>
            </p:nvSpPr>
            <p:spPr>
              <a:xfrm rot="16200000">
                <a:off x="4200538" y="2370908"/>
                <a:ext cx="1401912" cy="216265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L" sz="1600"/>
              </a:p>
            </p:txBody>
          </p:sp>
          <p:sp>
            <p:nvSpPr>
              <p:cNvPr id="101" name="Rectangle 100">
                <a:extLst>
                  <a:ext uri="{FF2B5EF4-FFF2-40B4-BE49-F238E27FC236}">
                    <a16:creationId xmlns="" xmlns:a16="http://schemas.microsoft.com/office/drawing/2014/main" id="{1963C052-5B90-435E-92B3-38615C848009}"/>
                  </a:ext>
                </a:extLst>
              </p:cNvPr>
              <p:cNvSpPr/>
              <p:nvPr/>
            </p:nvSpPr>
            <p:spPr>
              <a:xfrm>
                <a:off x="2682049" y="1824831"/>
                <a:ext cx="2163223" cy="172053"/>
              </a:xfrm>
              <a:prstGeom prst="rect">
                <a:avLst/>
              </a:prstGeom>
              <a:solidFill>
                <a:srgbClr val="F0D67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L" sz="1600"/>
              </a:p>
            </p:txBody>
          </p:sp>
        </p:grpSp>
        <p:sp>
          <p:nvSpPr>
            <p:cNvPr id="13" name="TextBox 12">
              <a:extLst>
                <a:ext uri="{FF2B5EF4-FFF2-40B4-BE49-F238E27FC236}">
                  <a16:creationId xmlns="" xmlns:a16="http://schemas.microsoft.com/office/drawing/2014/main" id="{25DAEC19-944B-45C8-A00F-8E7866799548}"/>
                </a:ext>
              </a:extLst>
            </p:cNvPr>
            <p:cNvSpPr txBox="1"/>
            <p:nvPr/>
          </p:nvSpPr>
          <p:spPr>
            <a:xfrm>
              <a:off x="2642323" y="1996884"/>
              <a:ext cx="2163223" cy="11541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s-CL" sz="2400" dirty="0"/>
                <a:t>33 Hombres </a:t>
              </a:r>
            </a:p>
            <a:p>
              <a:pPr algn="r"/>
              <a:r>
                <a:rPr lang="es-CL" sz="2400" dirty="0"/>
                <a:t>32 Mujeres</a:t>
              </a:r>
            </a:p>
            <a:p>
              <a:pPr algn="r"/>
              <a:r>
                <a:rPr lang="es-CL" sz="1050" dirty="0"/>
                <a:t>Solo tendrían Educación secundaria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="" xmlns:a16="http://schemas.microsoft.com/office/drawing/2014/main" id="{CD2B61B4-1CFB-4679-B901-F344E96C7042}"/>
              </a:ext>
            </a:extLst>
          </p:cNvPr>
          <p:cNvGrpSpPr/>
          <p:nvPr/>
        </p:nvGrpSpPr>
        <p:grpSpPr>
          <a:xfrm>
            <a:off x="314429" y="5685495"/>
            <a:ext cx="2517585" cy="944349"/>
            <a:chOff x="4749843" y="1994525"/>
            <a:chExt cx="2517585" cy="944349"/>
          </a:xfrm>
        </p:grpSpPr>
        <p:grpSp>
          <p:nvGrpSpPr>
            <p:cNvPr id="105" name="Group 104">
              <a:extLst>
                <a:ext uri="{FF2B5EF4-FFF2-40B4-BE49-F238E27FC236}">
                  <a16:creationId xmlns="" xmlns:a16="http://schemas.microsoft.com/office/drawing/2014/main" id="{04249708-4C47-4C52-86F7-5E4AB663702A}"/>
                </a:ext>
              </a:extLst>
            </p:cNvPr>
            <p:cNvGrpSpPr/>
            <p:nvPr/>
          </p:nvGrpSpPr>
          <p:grpSpPr>
            <a:xfrm>
              <a:off x="4749843" y="1994525"/>
              <a:ext cx="2284578" cy="944349"/>
              <a:chOff x="2560694" y="1801870"/>
              <a:chExt cx="2284578" cy="944349"/>
            </a:xfrm>
          </p:grpSpPr>
          <p:sp>
            <p:nvSpPr>
              <p:cNvPr id="106" name="Rectangle 105">
                <a:extLst>
                  <a:ext uri="{FF2B5EF4-FFF2-40B4-BE49-F238E27FC236}">
                    <a16:creationId xmlns="" xmlns:a16="http://schemas.microsoft.com/office/drawing/2014/main" id="{5B3C0D65-5570-45E8-8908-CE040A7F86FF}"/>
                  </a:ext>
                </a:extLst>
              </p:cNvPr>
              <p:cNvSpPr/>
              <p:nvPr/>
            </p:nvSpPr>
            <p:spPr>
              <a:xfrm rot="16200000">
                <a:off x="2196652" y="2165912"/>
                <a:ext cx="944349" cy="216265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L" sz="1600"/>
              </a:p>
            </p:txBody>
          </p:sp>
          <p:sp>
            <p:nvSpPr>
              <p:cNvPr id="107" name="Rectangle 106">
                <a:extLst>
                  <a:ext uri="{FF2B5EF4-FFF2-40B4-BE49-F238E27FC236}">
                    <a16:creationId xmlns="" xmlns:a16="http://schemas.microsoft.com/office/drawing/2014/main" id="{0E7C082D-B87F-471E-982F-BD21D6F585C0}"/>
                  </a:ext>
                </a:extLst>
              </p:cNvPr>
              <p:cNvSpPr/>
              <p:nvPr/>
            </p:nvSpPr>
            <p:spPr>
              <a:xfrm>
                <a:off x="2682049" y="1824831"/>
                <a:ext cx="2163223" cy="172053"/>
              </a:xfrm>
              <a:prstGeom prst="rect">
                <a:avLst/>
              </a:prstGeom>
              <a:solidFill>
                <a:srgbClr val="F0D67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L" sz="1600"/>
              </a:p>
            </p:txBody>
          </p:sp>
        </p:grpSp>
        <p:sp>
          <p:nvSpPr>
            <p:cNvPr id="108" name="TextBox 107">
              <a:extLst>
                <a:ext uri="{FF2B5EF4-FFF2-40B4-BE49-F238E27FC236}">
                  <a16:creationId xmlns="" xmlns:a16="http://schemas.microsoft.com/office/drawing/2014/main" id="{5C335E82-F8A9-4783-BFD0-363625C2C75C}"/>
                </a:ext>
              </a:extLst>
            </p:cNvPr>
            <p:cNvSpPr txBox="1"/>
            <p:nvPr/>
          </p:nvSpPr>
          <p:spPr>
            <a:xfrm>
              <a:off x="4915730" y="2181905"/>
              <a:ext cx="2351698" cy="6309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L" sz="2400" dirty="0"/>
                <a:t>18 Personas</a:t>
              </a:r>
            </a:p>
            <a:p>
              <a:r>
                <a:rPr lang="es-CL" sz="1050" dirty="0"/>
                <a:t>No </a:t>
              </a:r>
              <a:r>
                <a:rPr lang="es-CL" sz="1050" dirty="0" err="1"/>
                <a:t>tendrian</a:t>
              </a:r>
              <a:r>
                <a:rPr lang="es-CL" sz="1050" dirty="0"/>
                <a:t> Electricidad</a:t>
              </a:r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="" xmlns:a16="http://schemas.microsoft.com/office/drawing/2014/main" id="{94557635-1630-4226-B3EE-C12311D58B0C}"/>
              </a:ext>
            </a:extLst>
          </p:cNvPr>
          <p:cNvGrpSpPr/>
          <p:nvPr/>
        </p:nvGrpSpPr>
        <p:grpSpPr>
          <a:xfrm>
            <a:off x="6796736" y="3261142"/>
            <a:ext cx="2240045" cy="944349"/>
            <a:chOff x="4915730" y="1980816"/>
            <a:chExt cx="2240045" cy="944349"/>
          </a:xfrm>
        </p:grpSpPr>
        <p:grpSp>
          <p:nvGrpSpPr>
            <p:cNvPr id="110" name="Group 109">
              <a:extLst>
                <a:ext uri="{FF2B5EF4-FFF2-40B4-BE49-F238E27FC236}">
                  <a16:creationId xmlns="" xmlns:a16="http://schemas.microsoft.com/office/drawing/2014/main" id="{4ACCD613-3082-454D-926B-E43DB3E5620E}"/>
                </a:ext>
              </a:extLst>
            </p:cNvPr>
            <p:cNvGrpSpPr/>
            <p:nvPr/>
          </p:nvGrpSpPr>
          <p:grpSpPr>
            <a:xfrm>
              <a:off x="5065078" y="1980816"/>
              <a:ext cx="2090697" cy="944349"/>
              <a:chOff x="2875929" y="1788161"/>
              <a:chExt cx="2090697" cy="944349"/>
            </a:xfrm>
          </p:grpSpPr>
          <p:sp>
            <p:nvSpPr>
              <p:cNvPr id="112" name="Rectangle 111">
                <a:extLst>
                  <a:ext uri="{FF2B5EF4-FFF2-40B4-BE49-F238E27FC236}">
                    <a16:creationId xmlns="" xmlns:a16="http://schemas.microsoft.com/office/drawing/2014/main" id="{B99F11F7-2E16-4225-BCC3-3155CE06BC63}"/>
                  </a:ext>
                </a:extLst>
              </p:cNvPr>
              <p:cNvSpPr/>
              <p:nvPr/>
            </p:nvSpPr>
            <p:spPr>
              <a:xfrm rot="16200000">
                <a:off x="4386319" y="2152203"/>
                <a:ext cx="944349" cy="216265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L" sz="1600"/>
              </a:p>
            </p:txBody>
          </p:sp>
          <p:sp>
            <p:nvSpPr>
              <p:cNvPr id="113" name="Rectangle 112">
                <a:extLst>
                  <a:ext uri="{FF2B5EF4-FFF2-40B4-BE49-F238E27FC236}">
                    <a16:creationId xmlns="" xmlns:a16="http://schemas.microsoft.com/office/drawing/2014/main" id="{9B24C60A-47E5-4069-AB6C-624CCE39F53B}"/>
                  </a:ext>
                </a:extLst>
              </p:cNvPr>
              <p:cNvSpPr/>
              <p:nvPr/>
            </p:nvSpPr>
            <p:spPr>
              <a:xfrm>
                <a:off x="2875929" y="1824831"/>
                <a:ext cx="1969343" cy="159563"/>
              </a:xfrm>
              <a:prstGeom prst="rect">
                <a:avLst/>
              </a:prstGeom>
              <a:solidFill>
                <a:srgbClr val="F0D67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L" sz="1600"/>
              </a:p>
            </p:txBody>
          </p:sp>
        </p:grpSp>
        <p:sp>
          <p:nvSpPr>
            <p:cNvPr id="111" name="TextBox 110">
              <a:extLst>
                <a:ext uri="{FF2B5EF4-FFF2-40B4-BE49-F238E27FC236}">
                  <a16:creationId xmlns="" xmlns:a16="http://schemas.microsoft.com/office/drawing/2014/main" id="{0A0FF8C6-56F3-4D58-95EC-340A348AB1D8}"/>
                </a:ext>
              </a:extLst>
            </p:cNvPr>
            <p:cNvSpPr txBox="1"/>
            <p:nvPr/>
          </p:nvSpPr>
          <p:spPr>
            <a:xfrm>
              <a:off x="4915730" y="2181905"/>
              <a:ext cx="2021327" cy="6309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s-CL" sz="2400" dirty="0"/>
                <a:t>10 personas</a:t>
              </a:r>
            </a:p>
            <a:p>
              <a:pPr algn="r"/>
              <a:r>
                <a:rPr lang="es-CL" sz="1050" dirty="0"/>
                <a:t>Tendrían el 85% de la riqueza</a:t>
              </a:r>
            </a:p>
          </p:txBody>
        </p:sp>
      </p:grpSp>
      <p:grpSp>
        <p:nvGrpSpPr>
          <p:cNvPr id="114" name="Group 113">
            <a:extLst>
              <a:ext uri="{FF2B5EF4-FFF2-40B4-BE49-F238E27FC236}">
                <a16:creationId xmlns="" xmlns:a16="http://schemas.microsoft.com/office/drawing/2014/main" id="{521056D2-FED6-4428-B8DE-98FCF74268C9}"/>
              </a:ext>
            </a:extLst>
          </p:cNvPr>
          <p:cNvGrpSpPr/>
          <p:nvPr/>
        </p:nvGrpSpPr>
        <p:grpSpPr>
          <a:xfrm>
            <a:off x="9508004" y="1834399"/>
            <a:ext cx="2284577" cy="944349"/>
            <a:chOff x="4871198" y="1980816"/>
            <a:chExt cx="2284577" cy="944349"/>
          </a:xfrm>
        </p:grpSpPr>
        <p:grpSp>
          <p:nvGrpSpPr>
            <p:cNvPr id="115" name="Group 114">
              <a:extLst>
                <a:ext uri="{FF2B5EF4-FFF2-40B4-BE49-F238E27FC236}">
                  <a16:creationId xmlns="" xmlns:a16="http://schemas.microsoft.com/office/drawing/2014/main" id="{33D4F1C3-DE08-498A-84B9-0CD1C148B249}"/>
                </a:ext>
              </a:extLst>
            </p:cNvPr>
            <p:cNvGrpSpPr/>
            <p:nvPr/>
          </p:nvGrpSpPr>
          <p:grpSpPr>
            <a:xfrm>
              <a:off x="4871198" y="1980816"/>
              <a:ext cx="2284577" cy="944349"/>
              <a:chOff x="2682049" y="1788161"/>
              <a:chExt cx="2284577" cy="944349"/>
            </a:xfrm>
          </p:grpSpPr>
          <p:sp>
            <p:nvSpPr>
              <p:cNvPr id="117" name="Rectangle 116">
                <a:extLst>
                  <a:ext uri="{FF2B5EF4-FFF2-40B4-BE49-F238E27FC236}">
                    <a16:creationId xmlns="" xmlns:a16="http://schemas.microsoft.com/office/drawing/2014/main" id="{A8E64D8A-D1CF-4F21-9B39-7E28B7F1E7B9}"/>
                  </a:ext>
                </a:extLst>
              </p:cNvPr>
              <p:cNvSpPr/>
              <p:nvPr/>
            </p:nvSpPr>
            <p:spPr>
              <a:xfrm rot="16200000">
                <a:off x="4386319" y="2152203"/>
                <a:ext cx="944349" cy="216265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L" sz="1600"/>
              </a:p>
            </p:txBody>
          </p:sp>
          <p:sp>
            <p:nvSpPr>
              <p:cNvPr id="118" name="Rectangle 117">
                <a:extLst>
                  <a:ext uri="{FF2B5EF4-FFF2-40B4-BE49-F238E27FC236}">
                    <a16:creationId xmlns="" xmlns:a16="http://schemas.microsoft.com/office/drawing/2014/main" id="{E10D09F8-3B4E-4D15-970F-767721544161}"/>
                  </a:ext>
                </a:extLst>
              </p:cNvPr>
              <p:cNvSpPr/>
              <p:nvPr/>
            </p:nvSpPr>
            <p:spPr>
              <a:xfrm>
                <a:off x="2682049" y="1824831"/>
                <a:ext cx="2163223" cy="172053"/>
              </a:xfrm>
              <a:prstGeom prst="rect">
                <a:avLst/>
              </a:prstGeom>
              <a:solidFill>
                <a:srgbClr val="F0D67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L" sz="1600"/>
              </a:p>
            </p:txBody>
          </p:sp>
        </p:grpSp>
        <p:sp>
          <p:nvSpPr>
            <p:cNvPr id="116" name="TextBox 115">
              <a:extLst>
                <a:ext uri="{FF2B5EF4-FFF2-40B4-BE49-F238E27FC236}">
                  <a16:creationId xmlns="" xmlns:a16="http://schemas.microsoft.com/office/drawing/2014/main" id="{3E73E6B5-972B-4576-82DA-242470293FAB}"/>
                </a:ext>
              </a:extLst>
            </p:cNvPr>
            <p:cNvSpPr txBox="1"/>
            <p:nvPr/>
          </p:nvSpPr>
          <p:spPr>
            <a:xfrm>
              <a:off x="4915730" y="2181905"/>
              <a:ext cx="2023780" cy="6309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s-CL" sz="2400" dirty="0"/>
                <a:t>40 Personas</a:t>
              </a:r>
            </a:p>
            <a:p>
              <a:pPr algn="r"/>
              <a:r>
                <a:rPr lang="es-CL" sz="1050" dirty="0" err="1"/>
                <a:t>Tendrian</a:t>
              </a:r>
              <a:r>
                <a:rPr lang="es-CL" sz="1050" dirty="0"/>
                <a:t> acceso a internet</a:t>
              </a:r>
            </a:p>
          </p:txBody>
        </p:sp>
      </p:grpSp>
      <p:grpSp>
        <p:nvGrpSpPr>
          <p:cNvPr id="119" name="Group 118">
            <a:extLst>
              <a:ext uri="{FF2B5EF4-FFF2-40B4-BE49-F238E27FC236}">
                <a16:creationId xmlns="" xmlns:a16="http://schemas.microsoft.com/office/drawing/2014/main" id="{0F14F03B-9280-4C89-9C21-2327AEBFFAD8}"/>
              </a:ext>
            </a:extLst>
          </p:cNvPr>
          <p:cNvGrpSpPr/>
          <p:nvPr/>
        </p:nvGrpSpPr>
        <p:grpSpPr>
          <a:xfrm>
            <a:off x="6537985" y="1601980"/>
            <a:ext cx="2240045" cy="1401912"/>
            <a:chOff x="4915730" y="1980815"/>
            <a:chExt cx="2240045" cy="1401912"/>
          </a:xfrm>
        </p:grpSpPr>
        <p:grpSp>
          <p:nvGrpSpPr>
            <p:cNvPr id="120" name="Group 119">
              <a:extLst>
                <a:ext uri="{FF2B5EF4-FFF2-40B4-BE49-F238E27FC236}">
                  <a16:creationId xmlns="" xmlns:a16="http://schemas.microsoft.com/office/drawing/2014/main" id="{ABE0DA66-F9C9-42F4-9C01-7DAEA77D7E26}"/>
                </a:ext>
              </a:extLst>
            </p:cNvPr>
            <p:cNvGrpSpPr/>
            <p:nvPr/>
          </p:nvGrpSpPr>
          <p:grpSpPr>
            <a:xfrm>
              <a:off x="5240233" y="1980815"/>
              <a:ext cx="1915542" cy="1401912"/>
              <a:chOff x="3051084" y="1788160"/>
              <a:chExt cx="1915542" cy="1401912"/>
            </a:xfrm>
          </p:grpSpPr>
          <p:sp>
            <p:nvSpPr>
              <p:cNvPr id="122" name="Rectangle 121">
                <a:extLst>
                  <a:ext uri="{FF2B5EF4-FFF2-40B4-BE49-F238E27FC236}">
                    <a16:creationId xmlns="" xmlns:a16="http://schemas.microsoft.com/office/drawing/2014/main" id="{A261DB37-BEB5-4351-809B-37D8F60EE09E}"/>
                  </a:ext>
                </a:extLst>
              </p:cNvPr>
              <p:cNvSpPr/>
              <p:nvPr/>
            </p:nvSpPr>
            <p:spPr>
              <a:xfrm rot="16200000">
                <a:off x="4157538" y="2380983"/>
                <a:ext cx="1401912" cy="216265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L" sz="1600"/>
              </a:p>
            </p:txBody>
          </p:sp>
          <p:sp>
            <p:nvSpPr>
              <p:cNvPr id="123" name="Rectangle 122">
                <a:extLst>
                  <a:ext uri="{FF2B5EF4-FFF2-40B4-BE49-F238E27FC236}">
                    <a16:creationId xmlns="" xmlns:a16="http://schemas.microsoft.com/office/drawing/2014/main" id="{A2D14BD4-C627-458E-AFD2-90B5E9E3D5D6}"/>
                  </a:ext>
                </a:extLst>
              </p:cNvPr>
              <p:cNvSpPr/>
              <p:nvPr/>
            </p:nvSpPr>
            <p:spPr>
              <a:xfrm>
                <a:off x="3051084" y="1824831"/>
                <a:ext cx="1794188" cy="159563"/>
              </a:xfrm>
              <a:prstGeom prst="rect">
                <a:avLst/>
              </a:prstGeom>
              <a:solidFill>
                <a:srgbClr val="F0D67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L" sz="1600"/>
              </a:p>
            </p:txBody>
          </p:sp>
        </p:grpSp>
        <p:sp>
          <p:nvSpPr>
            <p:cNvPr id="121" name="TextBox 120">
              <a:extLst>
                <a:ext uri="{FF2B5EF4-FFF2-40B4-BE49-F238E27FC236}">
                  <a16:creationId xmlns="" xmlns:a16="http://schemas.microsoft.com/office/drawing/2014/main" id="{5BF7D160-6D25-435E-8369-8A6BEDD940BF}"/>
                </a:ext>
              </a:extLst>
            </p:cNvPr>
            <p:cNvSpPr txBox="1"/>
            <p:nvPr/>
          </p:nvSpPr>
          <p:spPr>
            <a:xfrm>
              <a:off x="4915730" y="2181905"/>
              <a:ext cx="2023780" cy="10002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s-CL" sz="2400" dirty="0"/>
                <a:t>6 Niños</a:t>
              </a:r>
            </a:p>
            <a:p>
              <a:pPr algn="r"/>
              <a:r>
                <a:rPr lang="es-CL" sz="2400" dirty="0"/>
                <a:t>5 Adultos</a:t>
              </a:r>
            </a:p>
            <a:p>
              <a:pPr algn="r"/>
              <a:r>
                <a:rPr lang="es-CL" sz="1050" dirty="0"/>
                <a:t>Viven en extrema Pobreza</a:t>
              </a:r>
            </a:p>
          </p:txBody>
        </p:sp>
      </p:grpSp>
      <p:grpSp>
        <p:nvGrpSpPr>
          <p:cNvPr id="124" name="Group 123">
            <a:extLst>
              <a:ext uri="{FF2B5EF4-FFF2-40B4-BE49-F238E27FC236}">
                <a16:creationId xmlns="" xmlns:a16="http://schemas.microsoft.com/office/drawing/2014/main" id="{55C133A3-3B7E-46C8-9266-5368E633394C}"/>
              </a:ext>
            </a:extLst>
          </p:cNvPr>
          <p:cNvGrpSpPr/>
          <p:nvPr/>
        </p:nvGrpSpPr>
        <p:grpSpPr>
          <a:xfrm>
            <a:off x="2825947" y="3158443"/>
            <a:ext cx="2553359" cy="1032805"/>
            <a:chOff x="2611884" y="1745032"/>
            <a:chExt cx="2553359" cy="1032805"/>
          </a:xfrm>
        </p:grpSpPr>
        <p:grpSp>
          <p:nvGrpSpPr>
            <p:cNvPr id="125" name="Group 124">
              <a:extLst>
                <a:ext uri="{FF2B5EF4-FFF2-40B4-BE49-F238E27FC236}">
                  <a16:creationId xmlns="" xmlns:a16="http://schemas.microsoft.com/office/drawing/2014/main" id="{7D3049A9-6D71-447D-824E-457F29A9F350}"/>
                </a:ext>
              </a:extLst>
            </p:cNvPr>
            <p:cNvGrpSpPr/>
            <p:nvPr/>
          </p:nvGrpSpPr>
          <p:grpSpPr>
            <a:xfrm>
              <a:off x="2611884" y="1745032"/>
              <a:ext cx="2233388" cy="1032805"/>
              <a:chOff x="2611884" y="1745032"/>
              <a:chExt cx="2233388" cy="1032805"/>
            </a:xfrm>
          </p:grpSpPr>
          <p:sp>
            <p:nvSpPr>
              <p:cNvPr id="127" name="Rectangle 126">
                <a:extLst>
                  <a:ext uri="{FF2B5EF4-FFF2-40B4-BE49-F238E27FC236}">
                    <a16:creationId xmlns="" xmlns:a16="http://schemas.microsoft.com/office/drawing/2014/main" id="{B7C56204-9A1A-445D-B34C-D76BC0B24038}"/>
                  </a:ext>
                </a:extLst>
              </p:cNvPr>
              <p:cNvSpPr/>
              <p:nvPr/>
            </p:nvSpPr>
            <p:spPr>
              <a:xfrm rot="16200000">
                <a:off x="2203614" y="2153302"/>
                <a:ext cx="1032805" cy="216265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L" sz="1600"/>
              </a:p>
            </p:txBody>
          </p:sp>
          <p:sp>
            <p:nvSpPr>
              <p:cNvPr id="128" name="Rectangle 127">
                <a:extLst>
                  <a:ext uri="{FF2B5EF4-FFF2-40B4-BE49-F238E27FC236}">
                    <a16:creationId xmlns="" xmlns:a16="http://schemas.microsoft.com/office/drawing/2014/main" id="{9D30F45F-38CE-4426-BE00-4FECC0B5A3D8}"/>
                  </a:ext>
                </a:extLst>
              </p:cNvPr>
              <p:cNvSpPr/>
              <p:nvPr/>
            </p:nvSpPr>
            <p:spPr>
              <a:xfrm>
                <a:off x="2682049" y="1824831"/>
                <a:ext cx="2163223" cy="172053"/>
              </a:xfrm>
              <a:prstGeom prst="rect">
                <a:avLst/>
              </a:prstGeom>
              <a:solidFill>
                <a:srgbClr val="F0D67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L" sz="1600" dirty="0"/>
              </a:p>
            </p:txBody>
          </p:sp>
        </p:grpSp>
        <p:sp>
          <p:nvSpPr>
            <p:cNvPr id="126" name="TextBox 125">
              <a:extLst>
                <a:ext uri="{FF2B5EF4-FFF2-40B4-BE49-F238E27FC236}">
                  <a16:creationId xmlns="" xmlns:a16="http://schemas.microsoft.com/office/drawing/2014/main" id="{A1E46352-E2DE-4EFF-BF8D-A2768D1BF2A0}"/>
                </a:ext>
              </a:extLst>
            </p:cNvPr>
            <p:cNvSpPr txBox="1"/>
            <p:nvPr/>
          </p:nvSpPr>
          <p:spPr>
            <a:xfrm>
              <a:off x="2813545" y="1996884"/>
              <a:ext cx="2351698" cy="6309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L" sz="2400" dirty="0"/>
                <a:t>14 Personas</a:t>
              </a:r>
            </a:p>
            <a:p>
              <a:r>
                <a:rPr lang="es-CL" sz="1050" dirty="0"/>
                <a:t>Serían incapaces de leer y escribir</a:t>
              </a:r>
            </a:p>
          </p:txBody>
        </p:sp>
      </p:grpSp>
      <p:grpSp>
        <p:nvGrpSpPr>
          <p:cNvPr id="129" name="Group 128">
            <a:extLst>
              <a:ext uri="{FF2B5EF4-FFF2-40B4-BE49-F238E27FC236}">
                <a16:creationId xmlns="" xmlns:a16="http://schemas.microsoft.com/office/drawing/2014/main" id="{7086F054-94B5-4F2D-835D-D9F5E10F58CF}"/>
              </a:ext>
            </a:extLst>
          </p:cNvPr>
          <p:cNvGrpSpPr/>
          <p:nvPr/>
        </p:nvGrpSpPr>
        <p:grpSpPr>
          <a:xfrm>
            <a:off x="3643142" y="5651202"/>
            <a:ext cx="2553359" cy="1032805"/>
            <a:chOff x="2611884" y="1745032"/>
            <a:chExt cx="2553359" cy="1032805"/>
          </a:xfrm>
        </p:grpSpPr>
        <p:grpSp>
          <p:nvGrpSpPr>
            <p:cNvPr id="130" name="Group 129">
              <a:extLst>
                <a:ext uri="{FF2B5EF4-FFF2-40B4-BE49-F238E27FC236}">
                  <a16:creationId xmlns="" xmlns:a16="http://schemas.microsoft.com/office/drawing/2014/main" id="{10973349-EF4C-4E76-9A8E-6E5A7A277D78}"/>
                </a:ext>
              </a:extLst>
            </p:cNvPr>
            <p:cNvGrpSpPr/>
            <p:nvPr/>
          </p:nvGrpSpPr>
          <p:grpSpPr>
            <a:xfrm>
              <a:off x="2611884" y="1745032"/>
              <a:ext cx="2233388" cy="1032805"/>
              <a:chOff x="2611884" y="1745032"/>
              <a:chExt cx="2233388" cy="1032805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="" xmlns:a16="http://schemas.microsoft.com/office/drawing/2014/main" id="{E63B3260-492D-4801-BF6A-AC4AA3807B22}"/>
                  </a:ext>
                </a:extLst>
              </p:cNvPr>
              <p:cNvSpPr/>
              <p:nvPr/>
            </p:nvSpPr>
            <p:spPr>
              <a:xfrm rot="16200000">
                <a:off x="2203614" y="2153302"/>
                <a:ext cx="1032805" cy="216265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L" sz="1600"/>
              </a:p>
            </p:txBody>
          </p:sp>
          <p:sp>
            <p:nvSpPr>
              <p:cNvPr id="133" name="Rectangle 132">
                <a:extLst>
                  <a:ext uri="{FF2B5EF4-FFF2-40B4-BE49-F238E27FC236}">
                    <a16:creationId xmlns="" xmlns:a16="http://schemas.microsoft.com/office/drawing/2014/main" id="{FF452764-E21E-4DDC-8EA1-4CB1BFA9C49F}"/>
                  </a:ext>
                </a:extLst>
              </p:cNvPr>
              <p:cNvSpPr/>
              <p:nvPr/>
            </p:nvSpPr>
            <p:spPr>
              <a:xfrm>
                <a:off x="2682049" y="1824831"/>
                <a:ext cx="2163223" cy="172053"/>
              </a:xfrm>
              <a:prstGeom prst="rect">
                <a:avLst/>
              </a:prstGeom>
              <a:solidFill>
                <a:srgbClr val="F0D67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L" sz="1600" dirty="0"/>
              </a:p>
            </p:txBody>
          </p:sp>
        </p:grpSp>
        <p:sp>
          <p:nvSpPr>
            <p:cNvPr id="131" name="TextBox 130">
              <a:extLst>
                <a:ext uri="{FF2B5EF4-FFF2-40B4-BE49-F238E27FC236}">
                  <a16:creationId xmlns="" xmlns:a16="http://schemas.microsoft.com/office/drawing/2014/main" id="{B9744E24-7E48-4F1E-B8AA-36F450AA3A05}"/>
                </a:ext>
              </a:extLst>
            </p:cNvPr>
            <p:cNvSpPr txBox="1"/>
            <p:nvPr/>
          </p:nvSpPr>
          <p:spPr>
            <a:xfrm>
              <a:off x="2813545" y="1996884"/>
              <a:ext cx="2351698" cy="6309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L" sz="2400" dirty="0"/>
                <a:t>11 Personas</a:t>
              </a:r>
            </a:p>
            <a:p>
              <a:r>
                <a:rPr lang="es-CL" sz="1050" dirty="0" err="1"/>
                <a:t>Estarian</a:t>
              </a:r>
              <a:r>
                <a:rPr lang="es-CL" sz="1050" dirty="0"/>
                <a:t> Subalimentadas</a:t>
              </a:r>
            </a:p>
          </p:txBody>
        </p:sp>
      </p:grpSp>
      <p:grpSp>
        <p:nvGrpSpPr>
          <p:cNvPr id="134" name="Group 133">
            <a:extLst>
              <a:ext uri="{FF2B5EF4-FFF2-40B4-BE49-F238E27FC236}">
                <a16:creationId xmlns="" xmlns:a16="http://schemas.microsoft.com/office/drawing/2014/main" id="{14DC65BF-9F41-4FFB-9B94-45A394660909}"/>
              </a:ext>
            </a:extLst>
          </p:cNvPr>
          <p:cNvGrpSpPr/>
          <p:nvPr/>
        </p:nvGrpSpPr>
        <p:grpSpPr>
          <a:xfrm>
            <a:off x="6337032" y="5723908"/>
            <a:ext cx="2240045" cy="985919"/>
            <a:chOff x="4915730" y="1980816"/>
            <a:chExt cx="2240045" cy="985919"/>
          </a:xfrm>
        </p:grpSpPr>
        <p:grpSp>
          <p:nvGrpSpPr>
            <p:cNvPr id="135" name="Group 134">
              <a:extLst>
                <a:ext uri="{FF2B5EF4-FFF2-40B4-BE49-F238E27FC236}">
                  <a16:creationId xmlns="" xmlns:a16="http://schemas.microsoft.com/office/drawing/2014/main" id="{ACC185B4-6294-423B-88D5-6B2F53DDB331}"/>
                </a:ext>
              </a:extLst>
            </p:cNvPr>
            <p:cNvGrpSpPr/>
            <p:nvPr/>
          </p:nvGrpSpPr>
          <p:grpSpPr>
            <a:xfrm>
              <a:off x="4939717" y="1980816"/>
              <a:ext cx="2216058" cy="944349"/>
              <a:chOff x="2750568" y="1788161"/>
              <a:chExt cx="2216058" cy="944349"/>
            </a:xfrm>
          </p:grpSpPr>
          <p:sp>
            <p:nvSpPr>
              <p:cNvPr id="137" name="Rectangle 136">
                <a:extLst>
                  <a:ext uri="{FF2B5EF4-FFF2-40B4-BE49-F238E27FC236}">
                    <a16:creationId xmlns="" xmlns:a16="http://schemas.microsoft.com/office/drawing/2014/main" id="{3F18BAA7-809A-42A9-9554-C339E4DD21B8}"/>
                  </a:ext>
                </a:extLst>
              </p:cNvPr>
              <p:cNvSpPr/>
              <p:nvPr/>
            </p:nvSpPr>
            <p:spPr>
              <a:xfrm rot="16200000">
                <a:off x="4386319" y="2152203"/>
                <a:ext cx="944349" cy="216265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L" sz="1600"/>
              </a:p>
            </p:txBody>
          </p:sp>
          <p:sp>
            <p:nvSpPr>
              <p:cNvPr id="138" name="Rectangle 137">
                <a:extLst>
                  <a:ext uri="{FF2B5EF4-FFF2-40B4-BE49-F238E27FC236}">
                    <a16:creationId xmlns="" xmlns:a16="http://schemas.microsoft.com/office/drawing/2014/main" id="{CBE9A4E0-73CC-4189-A090-8FD23D21D58A}"/>
                  </a:ext>
                </a:extLst>
              </p:cNvPr>
              <p:cNvSpPr/>
              <p:nvPr/>
            </p:nvSpPr>
            <p:spPr>
              <a:xfrm>
                <a:off x="2750568" y="1795254"/>
                <a:ext cx="2094704" cy="173736"/>
              </a:xfrm>
              <a:prstGeom prst="rect">
                <a:avLst/>
              </a:prstGeom>
              <a:solidFill>
                <a:srgbClr val="F0D67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L" sz="1600"/>
              </a:p>
            </p:txBody>
          </p:sp>
        </p:grpSp>
        <p:sp>
          <p:nvSpPr>
            <p:cNvPr id="136" name="TextBox 135">
              <a:extLst>
                <a:ext uri="{FF2B5EF4-FFF2-40B4-BE49-F238E27FC236}">
                  <a16:creationId xmlns="" xmlns:a16="http://schemas.microsoft.com/office/drawing/2014/main" id="{4ECCDCD5-C549-42E2-BFD3-EE027A352904}"/>
                </a:ext>
              </a:extLst>
            </p:cNvPr>
            <p:cNvSpPr txBox="1"/>
            <p:nvPr/>
          </p:nvSpPr>
          <p:spPr>
            <a:xfrm>
              <a:off x="4915730" y="2181905"/>
              <a:ext cx="2023780" cy="7848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s-CL" sz="2400" dirty="0"/>
                <a:t>9 personas</a:t>
              </a:r>
            </a:p>
            <a:p>
              <a:pPr algn="r"/>
              <a:r>
                <a:rPr lang="es-CL" sz="1050" dirty="0"/>
                <a:t>No tendrían Agua segura para beber</a:t>
              </a:r>
            </a:p>
          </p:txBody>
        </p:sp>
      </p:grpSp>
      <p:grpSp>
        <p:nvGrpSpPr>
          <p:cNvPr id="139" name="Group 138">
            <a:extLst>
              <a:ext uri="{FF2B5EF4-FFF2-40B4-BE49-F238E27FC236}">
                <a16:creationId xmlns="" xmlns:a16="http://schemas.microsoft.com/office/drawing/2014/main" id="{EB355A23-7B8A-4F2C-A8D9-46656D8A9B89}"/>
              </a:ext>
            </a:extLst>
          </p:cNvPr>
          <p:cNvGrpSpPr/>
          <p:nvPr/>
        </p:nvGrpSpPr>
        <p:grpSpPr>
          <a:xfrm>
            <a:off x="9508004" y="5344598"/>
            <a:ext cx="2284577" cy="1001308"/>
            <a:chOff x="4871198" y="1980816"/>
            <a:chExt cx="2284577" cy="1001308"/>
          </a:xfrm>
        </p:grpSpPr>
        <p:grpSp>
          <p:nvGrpSpPr>
            <p:cNvPr id="140" name="Group 139">
              <a:extLst>
                <a:ext uri="{FF2B5EF4-FFF2-40B4-BE49-F238E27FC236}">
                  <a16:creationId xmlns="" xmlns:a16="http://schemas.microsoft.com/office/drawing/2014/main" id="{123697E0-B789-447D-A4F5-DFB16C816192}"/>
                </a:ext>
              </a:extLst>
            </p:cNvPr>
            <p:cNvGrpSpPr/>
            <p:nvPr/>
          </p:nvGrpSpPr>
          <p:grpSpPr>
            <a:xfrm>
              <a:off x="4871198" y="1980816"/>
              <a:ext cx="2284577" cy="944349"/>
              <a:chOff x="2682049" y="1788161"/>
              <a:chExt cx="2284577" cy="944349"/>
            </a:xfrm>
          </p:grpSpPr>
          <p:sp>
            <p:nvSpPr>
              <p:cNvPr id="142" name="Rectangle 141">
                <a:extLst>
                  <a:ext uri="{FF2B5EF4-FFF2-40B4-BE49-F238E27FC236}">
                    <a16:creationId xmlns="" xmlns:a16="http://schemas.microsoft.com/office/drawing/2014/main" id="{277F69AD-DC1D-48DB-94E3-F11CF181FC5D}"/>
                  </a:ext>
                </a:extLst>
              </p:cNvPr>
              <p:cNvSpPr/>
              <p:nvPr/>
            </p:nvSpPr>
            <p:spPr>
              <a:xfrm rot="16200000">
                <a:off x="4386319" y="2152203"/>
                <a:ext cx="944349" cy="216265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L" sz="1600"/>
              </a:p>
            </p:txBody>
          </p:sp>
          <p:sp>
            <p:nvSpPr>
              <p:cNvPr id="143" name="Rectangle 142">
                <a:extLst>
                  <a:ext uri="{FF2B5EF4-FFF2-40B4-BE49-F238E27FC236}">
                    <a16:creationId xmlns="" xmlns:a16="http://schemas.microsoft.com/office/drawing/2014/main" id="{C68F831F-2597-49F0-8E68-F74228C56283}"/>
                  </a:ext>
                </a:extLst>
              </p:cNvPr>
              <p:cNvSpPr/>
              <p:nvPr/>
            </p:nvSpPr>
            <p:spPr>
              <a:xfrm>
                <a:off x="2682049" y="1824831"/>
                <a:ext cx="2163223" cy="172053"/>
              </a:xfrm>
              <a:prstGeom prst="rect">
                <a:avLst/>
              </a:prstGeom>
              <a:solidFill>
                <a:srgbClr val="F0D67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L" sz="1600"/>
              </a:p>
            </p:txBody>
          </p:sp>
        </p:grpSp>
        <p:sp>
          <p:nvSpPr>
            <p:cNvPr id="141" name="TextBox 140">
              <a:extLst>
                <a:ext uri="{FF2B5EF4-FFF2-40B4-BE49-F238E27FC236}">
                  <a16:creationId xmlns="" xmlns:a16="http://schemas.microsoft.com/office/drawing/2014/main" id="{A5E8625F-5A28-4575-B3F8-C01605BD8A56}"/>
                </a:ext>
              </a:extLst>
            </p:cNvPr>
            <p:cNvSpPr txBox="1"/>
            <p:nvPr/>
          </p:nvSpPr>
          <p:spPr>
            <a:xfrm>
              <a:off x="4915730" y="2181905"/>
              <a:ext cx="2023780" cy="800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s-CL" sz="2400" dirty="0"/>
                <a:t>32 Personas</a:t>
              </a:r>
            </a:p>
            <a:p>
              <a:pPr algn="r"/>
              <a:r>
                <a:rPr lang="es-CL" sz="1050" dirty="0"/>
                <a:t>No tendrían o tendrían un saneamiento deficiente</a:t>
              </a:r>
            </a:p>
          </p:txBody>
        </p:sp>
      </p:grpSp>
      <p:grpSp>
        <p:nvGrpSpPr>
          <p:cNvPr id="145" name="Group 144">
            <a:extLst>
              <a:ext uri="{FF2B5EF4-FFF2-40B4-BE49-F238E27FC236}">
                <a16:creationId xmlns="" xmlns:a16="http://schemas.microsoft.com/office/drawing/2014/main" id="{70981B74-70E8-415E-A952-23D4E74D5158}"/>
              </a:ext>
            </a:extLst>
          </p:cNvPr>
          <p:cNvGrpSpPr/>
          <p:nvPr/>
        </p:nvGrpSpPr>
        <p:grpSpPr>
          <a:xfrm>
            <a:off x="3244899" y="1570005"/>
            <a:ext cx="2553360" cy="1367103"/>
            <a:chOff x="2611883" y="1745032"/>
            <a:chExt cx="2553360" cy="1651602"/>
          </a:xfrm>
        </p:grpSpPr>
        <p:grpSp>
          <p:nvGrpSpPr>
            <p:cNvPr id="146" name="Group 145">
              <a:extLst>
                <a:ext uri="{FF2B5EF4-FFF2-40B4-BE49-F238E27FC236}">
                  <a16:creationId xmlns="" xmlns:a16="http://schemas.microsoft.com/office/drawing/2014/main" id="{9BC84781-DE88-4A49-8B58-19C76F160EDF}"/>
                </a:ext>
              </a:extLst>
            </p:cNvPr>
            <p:cNvGrpSpPr/>
            <p:nvPr/>
          </p:nvGrpSpPr>
          <p:grpSpPr>
            <a:xfrm>
              <a:off x="2611883" y="1745032"/>
              <a:ext cx="2233389" cy="1651602"/>
              <a:chOff x="2611883" y="1745032"/>
              <a:chExt cx="2233389" cy="1651602"/>
            </a:xfrm>
          </p:grpSpPr>
          <p:sp>
            <p:nvSpPr>
              <p:cNvPr id="148" name="Rectangle 147">
                <a:extLst>
                  <a:ext uri="{FF2B5EF4-FFF2-40B4-BE49-F238E27FC236}">
                    <a16:creationId xmlns="" xmlns:a16="http://schemas.microsoft.com/office/drawing/2014/main" id="{D9F23F1B-8EFA-40CF-BC82-E87B1380BD72}"/>
                  </a:ext>
                </a:extLst>
              </p:cNvPr>
              <p:cNvSpPr/>
              <p:nvPr/>
            </p:nvSpPr>
            <p:spPr>
              <a:xfrm rot="16200000">
                <a:off x="1894215" y="2462700"/>
                <a:ext cx="1651602" cy="216265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L" sz="1600"/>
              </a:p>
            </p:txBody>
          </p:sp>
          <p:sp>
            <p:nvSpPr>
              <p:cNvPr id="149" name="Rectangle 148">
                <a:extLst>
                  <a:ext uri="{FF2B5EF4-FFF2-40B4-BE49-F238E27FC236}">
                    <a16:creationId xmlns="" xmlns:a16="http://schemas.microsoft.com/office/drawing/2014/main" id="{7AB332C4-4D24-4B32-8739-19D82DB1254B}"/>
                  </a:ext>
                </a:extLst>
              </p:cNvPr>
              <p:cNvSpPr/>
              <p:nvPr/>
            </p:nvSpPr>
            <p:spPr>
              <a:xfrm>
                <a:off x="2682049" y="1824831"/>
                <a:ext cx="2163223" cy="172053"/>
              </a:xfrm>
              <a:prstGeom prst="rect">
                <a:avLst/>
              </a:prstGeom>
              <a:solidFill>
                <a:srgbClr val="F0D67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L" sz="1600"/>
              </a:p>
            </p:txBody>
          </p:sp>
        </p:grpSp>
        <p:sp>
          <p:nvSpPr>
            <p:cNvPr id="147" name="TextBox 146">
              <a:extLst>
                <a:ext uri="{FF2B5EF4-FFF2-40B4-BE49-F238E27FC236}">
                  <a16:creationId xmlns="" xmlns:a16="http://schemas.microsoft.com/office/drawing/2014/main" id="{195FFB81-E40A-4374-8C1A-BF57F56E050D}"/>
                </a:ext>
              </a:extLst>
            </p:cNvPr>
            <p:cNvSpPr txBox="1"/>
            <p:nvPr/>
          </p:nvSpPr>
          <p:spPr>
            <a:xfrm>
              <a:off x="2813545" y="1996884"/>
              <a:ext cx="2351698" cy="12084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L" sz="2400" dirty="0"/>
                <a:t>50 Hombres </a:t>
              </a:r>
            </a:p>
            <a:p>
              <a:r>
                <a:rPr lang="es-CL" sz="2400" dirty="0"/>
                <a:t>50 Mujeres</a:t>
              </a:r>
            </a:p>
            <a:p>
              <a:r>
                <a:rPr lang="es-CL" sz="1050" dirty="0"/>
                <a:t>En la aldea</a:t>
              </a:r>
            </a:p>
          </p:txBody>
        </p:sp>
      </p:grpSp>
      <p:grpSp>
        <p:nvGrpSpPr>
          <p:cNvPr id="150" name="Group 149">
            <a:extLst>
              <a:ext uri="{FF2B5EF4-FFF2-40B4-BE49-F238E27FC236}">
                <a16:creationId xmlns="" xmlns:a16="http://schemas.microsoft.com/office/drawing/2014/main" id="{11AFEF1C-4D65-4DF6-9471-CC918CF1826D}"/>
              </a:ext>
            </a:extLst>
          </p:cNvPr>
          <p:cNvGrpSpPr/>
          <p:nvPr/>
        </p:nvGrpSpPr>
        <p:grpSpPr>
          <a:xfrm>
            <a:off x="2717814" y="4544250"/>
            <a:ext cx="2233388" cy="1036682"/>
            <a:chOff x="2611884" y="1745032"/>
            <a:chExt cx="2233388" cy="1036682"/>
          </a:xfrm>
        </p:grpSpPr>
        <p:grpSp>
          <p:nvGrpSpPr>
            <p:cNvPr id="151" name="Group 150">
              <a:extLst>
                <a:ext uri="{FF2B5EF4-FFF2-40B4-BE49-F238E27FC236}">
                  <a16:creationId xmlns="" xmlns:a16="http://schemas.microsoft.com/office/drawing/2014/main" id="{2FBFED2E-E86A-4D7D-A088-6B3A73B8FC12}"/>
                </a:ext>
              </a:extLst>
            </p:cNvPr>
            <p:cNvGrpSpPr/>
            <p:nvPr/>
          </p:nvGrpSpPr>
          <p:grpSpPr>
            <a:xfrm>
              <a:off x="2611884" y="1745032"/>
              <a:ext cx="2233388" cy="1032805"/>
              <a:chOff x="2611884" y="1745032"/>
              <a:chExt cx="2233388" cy="1032805"/>
            </a:xfrm>
          </p:grpSpPr>
          <p:sp>
            <p:nvSpPr>
              <p:cNvPr id="153" name="Rectangle 152">
                <a:extLst>
                  <a:ext uri="{FF2B5EF4-FFF2-40B4-BE49-F238E27FC236}">
                    <a16:creationId xmlns="" xmlns:a16="http://schemas.microsoft.com/office/drawing/2014/main" id="{68E5D54F-F644-4ECC-80CC-C57703871094}"/>
                  </a:ext>
                </a:extLst>
              </p:cNvPr>
              <p:cNvSpPr/>
              <p:nvPr/>
            </p:nvSpPr>
            <p:spPr>
              <a:xfrm rot="16200000">
                <a:off x="2203614" y="2153302"/>
                <a:ext cx="1032805" cy="216265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L" sz="1600"/>
              </a:p>
            </p:txBody>
          </p:sp>
          <p:sp>
            <p:nvSpPr>
              <p:cNvPr id="154" name="Rectangle 153">
                <a:extLst>
                  <a:ext uri="{FF2B5EF4-FFF2-40B4-BE49-F238E27FC236}">
                    <a16:creationId xmlns="" xmlns:a16="http://schemas.microsoft.com/office/drawing/2014/main" id="{5CD6E308-1510-4B07-872B-7A0314505846}"/>
                  </a:ext>
                </a:extLst>
              </p:cNvPr>
              <p:cNvSpPr/>
              <p:nvPr/>
            </p:nvSpPr>
            <p:spPr>
              <a:xfrm>
                <a:off x="2682049" y="1824831"/>
                <a:ext cx="2163223" cy="172053"/>
              </a:xfrm>
              <a:prstGeom prst="rect">
                <a:avLst/>
              </a:prstGeom>
              <a:solidFill>
                <a:srgbClr val="F0D67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L" sz="1600"/>
              </a:p>
            </p:txBody>
          </p:sp>
        </p:grpSp>
        <p:sp>
          <p:nvSpPr>
            <p:cNvPr id="152" name="TextBox 151">
              <a:extLst>
                <a:ext uri="{FF2B5EF4-FFF2-40B4-BE49-F238E27FC236}">
                  <a16:creationId xmlns="" xmlns:a16="http://schemas.microsoft.com/office/drawing/2014/main" id="{2B36E239-2E18-4F9F-8D0F-72C59E733A5F}"/>
                </a:ext>
              </a:extLst>
            </p:cNvPr>
            <p:cNvSpPr txBox="1"/>
            <p:nvPr/>
          </p:nvSpPr>
          <p:spPr>
            <a:xfrm>
              <a:off x="2813545" y="1996884"/>
              <a:ext cx="2021327" cy="7848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L" sz="2400" dirty="0"/>
                <a:t>50 Personas</a:t>
              </a:r>
            </a:p>
            <a:p>
              <a:r>
                <a:rPr lang="es-CL" sz="1050" dirty="0"/>
                <a:t>Estarían amenazados por la malaria</a:t>
              </a:r>
            </a:p>
          </p:txBody>
        </p:sp>
      </p:grpSp>
      <p:grpSp>
        <p:nvGrpSpPr>
          <p:cNvPr id="155" name="Group 154">
            <a:extLst>
              <a:ext uri="{FF2B5EF4-FFF2-40B4-BE49-F238E27FC236}">
                <a16:creationId xmlns="" xmlns:a16="http://schemas.microsoft.com/office/drawing/2014/main" id="{D0FDF5C1-9CD4-4EAF-A435-51EE33552C52}"/>
              </a:ext>
            </a:extLst>
          </p:cNvPr>
          <p:cNvGrpSpPr/>
          <p:nvPr/>
        </p:nvGrpSpPr>
        <p:grpSpPr>
          <a:xfrm>
            <a:off x="6922083" y="4627321"/>
            <a:ext cx="2240045" cy="985919"/>
            <a:chOff x="4915730" y="1980816"/>
            <a:chExt cx="2240045" cy="985919"/>
          </a:xfrm>
        </p:grpSpPr>
        <p:grpSp>
          <p:nvGrpSpPr>
            <p:cNvPr id="156" name="Group 155">
              <a:extLst>
                <a:ext uri="{FF2B5EF4-FFF2-40B4-BE49-F238E27FC236}">
                  <a16:creationId xmlns="" xmlns:a16="http://schemas.microsoft.com/office/drawing/2014/main" id="{E938B343-37BA-4EAB-9400-1E9FD4CD6468}"/>
                </a:ext>
              </a:extLst>
            </p:cNvPr>
            <p:cNvGrpSpPr/>
            <p:nvPr/>
          </p:nvGrpSpPr>
          <p:grpSpPr>
            <a:xfrm>
              <a:off x="4999382" y="1980816"/>
              <a:ext cx="2156393" cy="944349"/>
              <a:chOff x="2810233" y="1788161"/>
              <a:chExt cx="2156393" cy="944349"/>
            </a:xfrm>
          </p:grpSpPr>
          <p:sp>
            <p:nvSpPr>
              <p:cNvPr id="158" name="Rectangle 157">
                <a:extLst>
                  <a:ext uri="{FF2B5EF4-FFF2-40B4-BE49-F238E27FC236}">
                    <a16:creationId xmlns="" xmlns:a16="http://schemas.microsoft.com/office/drawing/2014/main" id="{DF7B7579-4CBD-4026-9C81-DE52B5F00C2B}"/>
                  </a:ext>
                </a:extLst>
              </p:cNvPr>
              <p:cNvSpPr/>
              <p:nvPr/>
            </p:nvSpPr>
            <p:spPr>
              <a:xfrm rot="16200000">
                <a:off x="4386319" y="2152203"/>
                <a:ext cx="944349" cy="216265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L" sz="1600"/>
              </a:p>
            </p:txBody>
          </p:sp>
          <p:sp>
            <p:nvSpPr>
              <p:cNvPr id="159" name="Rectangle 158">
                <a:extLst>
                  <a:ext uri="{FF2B5EF4-FFF2-40B4-BE49-F238E27FC236}">
                    <a16:creationId xmlns="" xmlns:a16="http://schemas.microsoft.com/office/drawing/2014/main" id="{54BA013B-B5FF-4FB3-8A06-55C005CB4AA8}"/>
                  </a:ext>
                </a:extLst>
              </p:cNvPr>
              <p:cNvSpPr/>
              <p:nvPr/>
            </p:nvSpPr>
            <p:spPr>
              <a:xfrm>
                <a:off x="2810233" y="1824831"/>
                <a:ext cx="2035039" cy="159563"/>
              </a:xfrm>
              <a:prstGeom prst="rect">
                <a:avLst/>
              </a:prstGeom>
              <a:solidFill>
                <a:srgbClr val="F0D67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L" sz="1600"/>
              </a:p>
            </p:txBody>
          </p:sp>
        </p:grpSp>
        <p:sp>
          <p:nvSpPr>
            <p:cNvPr id="157" name="TextBox 156">
              <a:extLst>
                <a:ext uri="{FF2B5EF4-FFF2-40B4-BE49-F238E27FC236}">
                  <a16:creationId xmlns="" xmlns:a16="http://schemas.microsoft.com/office/drawing/2014/main" id="{76E32699-FE73-4EA9-85A5-DD5C34C0C339}"/>
                </a:ext>
              </a:extLst>
            </p:cNvPr>
            <p:cNvSpPr txBox="1"/>
            <p:nvPr/>
          </p:nvSpPr>
          <p:spPr>
            <a:xfrm>
              <a:off x="4915730" y="2181905"/>
              <a:ext cx="2021327" cy="7848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s-CL" sz="2400" dirty="0"/>
                <a:t>7 personas</a:t>
              </a:r>
            </a:p>
            <a:p>
              <a:pPr algn="r"/>
              <a:r>
                <a:rPr lang="es-CL" sz="1050" dirty="0"/>
                <a:t>Tendrían Educación Universitari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35972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00F4FE5A-C877-4674-8D6C-603B738379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9288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20D319B4-5996-45A1-8A1E-08F8FE1F5EF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>
              <a:latin typeface="Book Antiqua" panose="02040602050305030304" pitchFamily="18" charset="0"/>
              <a:ea typeface="+mj-ea"/>
              <a:cs typeface="+mj-cs"/>
              <a:sym typeface="Book Antiqua" panose="02040602050305030304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DB6B8331-08EB-49DF-8176-5A921452CB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ontexto</a:t>
            </a:r>
            <a:endParaRPr lang="es-CL" dirty="0"/>
          </a:p>
        </p:txBody>
      </p:sp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1E1AF984-26E3-4CE2-AC62-60A6D009341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582" y="1757217"/>
            <a:ext cx="1119909" cy="111990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9CBD13B8-7DA5-426A-B666-1EAAC3D6E34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0329" y="1757217"/>
            <a:ext cx="1119909" cy="111990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="" xmlns:a16="http://schemas.microsoft.com/office/drawing/2014/main" id="{48262C26-F741-48A2-8BA8-1256F2999CBE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8076" y="1757217"/>
            <a:ext cx="1119909" cy="111990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="" xmlns:a16="http://schemas.microsoft.com/office/drawing/2014/main" id="{0C80B3FF-D00C-4F75-ADB9-5AA301DC6B81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5823" y="1757217"/>
            <a:ext cx="1119909" cy="111990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30A07597-AF10-4C9B-8EFA-296B8C0851A2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3571" y="1757218"/>
            <a:ext cx="1119910" cy="111991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="" xmlns:a16="http://schemas.microsoft.com/office/drawing/2014/main" id="{D3DCA27C-EA94-43A0-B31D-353C1609D901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583" y="3029528"/>
            <a:ext cx="1119910" cy="111991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="" xmlns:a16="http://schemas.microsoft.com/office/drawing/2014/main" id="{7C6AAE2E-492E-48D6-A7F1-E902EB3F896C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0329" y="3029528"/>
            <a:ext cx="1119909" cy="1119909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="" xmlns:a16="http://schemas.microsoft.com/office/drawing/2014/main" id="{D583F879-7ED0-469C-B676-2D09F37FD0FC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8074" y="3029528"/>
            <a:ext cx="1119909" cy="1119909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="" xmlns:a16="http://schemas.microsoft.com/office/drawing/2014/main" id="{DAEF161F-9D4A-47E8-8042-83BF0E133D59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5820" y="3029529"/>
            <a:ext cx="1119910" cy="111991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="" xmlns:a16="http://schemas.microsoft.com/office/drawing/2014/main" id="{8FD0295A-AE39-4621-923A-7A40DE451003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3565" y="3029528"/>
            <a:ext cx="1119909" cy="1119909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="" xmlns:a16="http://schemas.microsoft.com/office/drawing/2014/main" id="{0518D5E9-0696-4C22-B306-CFA4E3408DDB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582" y="4301839"/>
            <a:ext cx="1119909" cy="1119909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="" xmlns:a16="http://schemas.microsoft.com/office/drawing/2014/main" id="{0F241F40-9511-46D7-89B2-5B1032ECA4EB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0329" y="4301839"/>
            <a:ext cx="1119909" cy="1119909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="" xmlns:a16="http://schemas.microsoft.com/office/drawing/2014/main" id="{0B6FC2B1-8CD0-413E-AE0B-B8C06AECB455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8074" y="4301839"/>
            <a:ext cx="1119908" cy="1119908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="" xmlns:a16="http://schemas.microsoft.com/office/drawing/2014/main" id="{6C5CD229-FDC1-48B9-B282-1084F1547ED1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5818" y="4301837"/>
            <a:ext cx="1119908" cy="1119908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="" xmlns:a16="http://schemas.microsoft.com/office/drawing/2014/main" id="{67EF6941-D9C0-4EB2-952B-FBA8C369A6EE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8948" y="4301837"/>
            <a:ext cx="1119909" cy="1119909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="" xmlns:a16="http://schemas.microsoft.com/office/drawing/2014/main" id="{55C4C474-306E-4687-A6D1-56980F2C7DB1}"/>
              </a:ext>
            </a:extLst>
          </p:cNvPr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582" y="5574149"/>
            <a:ext cx="1119909" cy="1119909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="" xmlns:a16="http://schemas.microsoft.com/office/drawing/2014/main" id="{69568AE6-E835-4840-ADD8-2AA95DB5DD84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0329" y="5574149"/>
            <a:ext cx="1119909" cy="1119909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="" xmlns:a16="http://schemas.microsoft.com/office/drawing/2014/main" id="{4D4350D8-BFB2-420B-8220-1ED4CB6A50FA}"/>
              </a:ext>
            </a:extLst>
          </p:cNvPr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7577" y="2248207"/>
            <a:ext cx="4528935" cy="3885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3902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FB43E8A0-1071-490B-9770-E508CEC6BB4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0320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4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DEE52D85-6B02-49BC-97A8-CE32FFCE63B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>
              <a:latin typeface="Book Antiqua" panose="02040602050305030304" pitchFamily="18" charset="0"/>
              <a:ea typeface="+mj-ea"/>
              <a:cs typeface="+mj-cs"/>
              <a:sym typeface="Book Antiqua" panose="02040602050305030304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ACD8764-A234-4083-98DC-ACEC0CFA6F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ontexto</a:t>
            </a:r>
            <a:endParaRPr lang="es-CL" dirty="0"/>
          </a:p>
        </p:txBody>
      </p:sp>
      <p:pic>
        <p:nvPicPr>
          <p:cNvPr id="14" name="Graphic 13" descr="Gavel">
            <a:extLst>
              <a:ext uri="{FF2B5EF4-FFF2-40B4-BE49-F238E27FC236}">
                <a16:creationId xmlns="" xmlns:a16="http://schemas.microsoft.com/office/drawing/2014/main" id="{BE309752-7694-49BE-8622-9C985FE0DC2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225857" y="1555003"/>
            <a:ext cx="469448" cy="469448"/>
          </a:xfrm>
          <a:prstGeom prst="rect">
            <a:avLst/>
          </a:prstGeom>
        </p:spPr>
      </p:pic>
      <p:pic>
        <p:nvPicPr>
          <p:cNvPr id="16" name="Graphic 15" descr="Group of people">
            <a:extLst>
              <a:ext uri="{FF2B5EF4-FFF2-40B4-BE49-F238E27FC236}">
                <a16:creationId xmlns="" xmlns:a16="http://schemas.microsoft.com/office/drawing/2014/main" id="{EF79219B-5B7B-4D8C-9533-B2E3F336F5A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048849" y="1582261"/>
            <a:ext cx="470336" cy="373080"/>
          </a:xfrm>
          <a:prstGeom prst="rect">
            <a:avLst/>
          </a:prstGeom>
        </p:spPr>
      </p:pic>
      <p:pic>
        <p:nvPicPr>
          <p:cNvPr id="18" name="Graphic 17" descr="Shopping cart">
            <a:extLst>
              <a:ext uri="{FF2B5EF4-FFF2-40B4-BE49-F238E27FC236}">
                <a16:creationId xmlns="" xmlns:a16="http://schemas.microsoft.com/office/drawing/2014/main" id="{F461D025-DF39-405F-93C7-02C1041B4E7D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009814" y="1539139"/>
            <a:ext cx="457016" cy="457016"/>
          </a:xfrm>
          <a:prstGeom prst="rect">
            <a:avLst/>
          </a:prstGeom>
        </p:spPr>
      </p:pic>
      <p:pic>
        <p:nvPicPr>
          <p:cNvPr id="20" name="Graphic 19" descr="Court">
            <a:extLst>
              <a:ext uri="{FF2B5EF4-FFF2-40B4-BE49-F238E27FC236}">
                <a16:creationId xmlns="" xmlns:a16="http://schemas.microsoft.com/office/drawing/2014/main" id="{1111390B-C2E5-414E-AFB9-EF217229135C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821668" y="1531096"/>
            <a:ext cx="469448" cy="469448"/>
          </a:xfrm>
          <a:prstGeom prst="rect">
            <a:avLst/>
          </a:prstGeom>
        </p:spPr>
      </p:pic>
      <p:pic>
        <p:nvPicPr>
          <p:cNvPr id="22" name="Graphic 21" descr="Open hand with plant">
            <a:extLst>
              <a:ext uri="{FF2B5EF4-FFF2-40B4-BE49-F238E27FC236}">
                <a16:creationId xmlns="" xmlns:a16="http://schemas.microsoft.com/office/drawing/2014/main" id="{19F82F73-7E41-4AD8-ACE5-E5785F923A50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713946" y="1526707"/>
            <a:ext cx="469448" cy="469448"/>
          </a:xfrm>
          <a:prstGeom prst="rect">
            <a:avLst/>
          </a:prstGeom>
        </p:spPr>
      </p:pic>
      <p:pic>
        <p:nvPicPr>
          <p:cNvPr id="24" name="Graphic 23" descr="Handshake">
            <a:extLst>
              <a:ext uri="{FF2B5EF4-FFF2-40B4-BE49-F238E27FC236}">
                <a16:creationId xmlns="" xmlns:a16="http://schemas.microsoft.com/office/drawing/2014/main" id="{0B2BC935-2B3C-43D4-B643-FB30C62DC70B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0538232" y="1526706"/>
            <a:ext cx="469449" cy="469449"/>
          </a:xfrm>
          <a:prstGeom prst="rect">
            <a:avLst/>
          </a:prstGeom>
        </p:spPr>
      </p:pic>
      <p:graphicFrame>
        <p:nvGraphicFramePr>
          <p:cNvPr id="3" name="Table 2">
            <a:extLst>
              <a:ext uri="{FF2B5EF4-FFF2-40B4-BE49-F238E27FC236}">
                <a16:creationId xmlns="" xmlns:a16="http://schemas.microsoft.com/office/drawing/2014/main" id="{D608946F-ADE4-4C08-BECC-D34B6C6DAF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8865275"/>
              </p:ext>
            </p:extLst>
          </p:nvPr>
        </p:nvGraphicFramePr>
        <p:xfrm>
          <a:off x="547825" y="2010020"/>
          <a:ext cx="11230578" cy="4773209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871763">
                  <a:extLst>
                    <a:ext uri="{9D8B030D-6E8A-4147-A177-3AD203B41FA5}">
                      <a16:colId xmlns="" xmlns:a16="http://schemas.microsoft.com/office/drawing/2014/main" val="3018990113"/>
                    </a:ext>
                  </a:extLst>
                </a:gridCol>
                <a:gridCol w="1871763">
                  <a:extLst>
                    <a:ext uri="{9D8B030D-6E8A-4147-A177-3AD203B41FA5}">
                      <a16:colId xmlns="" xmlns:a16="http://schemas.microsoft.com/office/drawing/2014/main" val="674931730"/>
                    </a:ext>
                  </a:extLst>
                </a:gridCol>
                <a:gridCol w="1871763">
                  <a:extLst>
                    <a:ext uri="{9D8B030D-6E8A-4147-A177-3AD203B41FA5}">
                      <a16:colId xmlns="" xmlns:a16="http://schemas.microsoft.com/office/drawing/2014/main" val="2833241141"/>
                    </a:ext>
                  </a:extLst>
                </a:gridCol>
                <a:gridCol w="1871763">
                  <a:extLst>
                    <a:ext uri="{9D8B030D-6E8A-4147-A177-3AD203B41FA5}">
                      <a16:colId xmlns="" xmlns:a16="http://schemas.microsoft.com/office/drawing/2014/main" val="3585597805"/>
                    </a:ext>
                  </a:extLst>
                </a:gridCol>
                <a:gridCol w="1871763">
                  <a:extLst>
                    <a:ext uri="{9D8B030D-6E8A-4147-A177-3AD203B41FA5}">
                      <a16:colId xmlns="" xmlns:a16="http://schemas.microsoft.com/office/drawing/2014/main" val="3999568255"/>
                    </a:ext>
                  </a:extLst>
                </a:gridCol>
                <a:gridCol w="1871763">
                  <a:extLst>
                    <a:ext uri="{9D8B030D-6E8A-4147-A177-3AD203B41FA5}">
                      <a16:colId xmlns="" xmlns:a16="http://schemas.microsoft.com/office/drawing/2014/main" val="129372601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050" noProof="0" dirty="0"/>
                        <a:t>DERECHOS HUMANOS</a:t>
                      </a:r>
                      <a:endParaRPr lang="es-CL" sz="1050" noProof="0" dirty="0"/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noProof="0" dirty="0"/>
                        <a:t>RECURSOS HUMANOS</a:t>
                      </a:r>
                      <a:endParaRPr lang="es-CL" sz="1050" noProof="0" dirty="0"/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noProof="0" dirty="0"/>
                        <a:t>COMPORTAMIENTO EN LOS MERCADOS</a:t>
                      </a:r>
                      <a:endParaRPr lang="es-CL" sz="1050" noProof="0" dirty="0"/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noProof="0" dirty="0"/>
                        <a:t>GOBIERNO CORPORATIVO</a:t>
                      </a:r>
                      <a:endParaRPr lang="es-CL" sz="1050" noProof="0" dirty="0"/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noProof="0" dirty="0"/>
                        <a:t>MEDIOAMBIENTE</a:t>
                      </a:r>
                      <a:endParaRPr lang="es-CL" sz="1050" noProof="0" dirty="0"/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noProof="0" dirty="0"/>
                        <a:t>INVOLUCRAMIENTO</a:t>
                      </a:r>
                      <a:endParaRPr lang="es-CL" sz="1050" noProof="0" dirty="0"/>
                    </a:p>
                  </a:txBody>
                  <a:tcP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5329485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s-CL" sz="1050" noProof="0" dirty="0"/>
                        <a:t>Derechos humanos fundamentale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s-CL" sz="105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s-CL" sz="1050" noProof="0" dirty="0"/>
                        <a:t>Dialogo Soc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s-CL" sz="1050" noProof="0"/>
                        <a:t>Seguridad en los producto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s-CL" sz="1050" noProof="0"/>
                        <a:t>Composición y funcionamiento del Directori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s-CL" sz="1050" noProof="0"/>
                        <a:t>Estrategia medioambien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s-CL" sz="1050" noProof="0"/>
                        <a:t>Desarrollo social y económico loc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6903832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s-CL" sz="1050" noProof="0" dirty="0"/>
                        <a:t>Derechos laborales fundamenta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s-CL" sz="1050" noProof="0"/>
                        <a:t>Participación de los empleado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s-CL" sz="1050" noProof="0" dirty="0"/>
                        <a:t>Información a los client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s-CL" sz="1050" noProof="0"/>
                        <a:t>Auditoría y controles interno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s-CL" sz="1050" noProof="0"/>
                        <a:t>Prevención y control de la polució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s-CL" sz="1050" noProof="0" dirty="0"/>
                        <a:t>Impacto de los productos/servicios en la Socieda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054142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s-CL" sz="1050" noProof="0"/>
                        <a:t>No-Discriminacion y diversid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s-CL" sz="1050" noProof="0"/>
                        <a:t>Gestión de las restructuracion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s-CL" sz="1050" noProof="0"/>
                        <a:t>Relación responsable con los client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s-CL" sz="1050" noProof="0"/>
                        <a:t>Accionista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s-CL" sz="1050" noProof="0"/>
                        <a:t>Productos y servicios verd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s-CL" sz="1050" noProof="0"/>
                        <a:t>Contribuciones filantrópica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1680228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s-CL" sz="1050" noProof="0"/>
                        <a:t>Trabajo forzado y Trabajo infanti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s-CL" sz="1050" noProof="0"/>
                        <a:t>Desarrollo de Carrer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s-CL" sz="1050" noProof="0" dirty="0"/>
                        <a:t>Relaciones sustentables con los proveedor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s-CL" sz="1050" noProof="0"/>
                        <a:t>Remuneración de los altos ejecutivo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s-CL" sz="1050" noProof="0"/>
                        <a:t>Biodiversid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s-CL" sz="1050" noProof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6675664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s-CL" sz="105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s-CL" sz="1050" noProof="0"/>
                        <a:t>Sistema de remuneració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s-CL" sz="1050" noProof="0"/>
                        <a:t>Integracón de factores medioambientales en la cadena de val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s-CL" sz="1050" noProof="0" dirty="0"/>
                        <a:t>Prevención de la corrupció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s-CL" sz="1050" noProof="0" dirty="0"/>
                        <a:t>Agua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CL" sz="1050" noProof="0" dirty="0"/>
                        <a:t>Energía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50" noProof="0" dirty="0" err="1"/>
                        <a:t>Residuos</a:t>
                      </a:r>
                      <a:endParaRPr lang="es-CL" sz="105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s-CL" sz="1050" noProof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123673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s-CL" sz="105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s-CL" sz="1050" noProof="0"/>
                        <a:t>Salud y Segurid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s-CL" sz="1050" noProof="0"/>
                        <a:t>Integración de factores sociales en la cadena de val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s-CL" sz="1050" noProof="0" dirty="0"/>
                        <a:t>Prevención de las </a:t>
                      </a:r>
                      <a:r>
                        <a:rPr lang="es-CL" sz="1050" noProof="0" dirty="0" err="1"/>
                        <a:t>practices</a:t>
                      </a:r>
                      <a:r>
                        <a:rPr lang="es-CL" sz="1050" noProof="0" dirty="0"/>
                        <a:t> anticompetitiva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s-CL" sz="1050" noProof="0" dirty="0"/>
                        <a:t>Emisiones atmosférica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s-CL" sz="1050" noProof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728785132"/>
                  </a:ext>
                </a:extLst>
              </a:tr>
              <a:tr h="470449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s-CL" sz="105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s-CL" sz="1050" noProof="0"/>
                        <a:t>Horarios de Trabaj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s-CL" sz="105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s-CL" sz="1050" noProof="0"/>
                        <a:t>Prácticas responsables de lobby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s-CL" sz="1050" noProof="0" dirty="0"/>
                        <a:t>Polución local (ruido/vibracione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s-CL" sz="1050" noProof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9419184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s-CL" sz="105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s-CL" sz="105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s-CL" sz="105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s-CL" sz="105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s-CL" sz="1050" noProof="0" dirty="0"/>
                        <a:t>Transpor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s-CL" sz="1050" noProof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358808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s-CL" sz="105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s-CL" sz="105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s-CL" sz="105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s-CL" sz="105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s-CL" sz="1050" noProof="0" dirty="0"/>
                        <a:t>Impactos durante el uso y fin de vid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s-CL" sz="1050" noProof="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266913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7955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2871AB70-79F4-4C54-999F-C606FED7BD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45141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2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1A1796B5-0604-4222-9E06-AA67AA9C44B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>
              <a:latin typeface="Book Antiqua" panose="02040602050305030304" pitchFamily="18" charset="0"/>
              <a:ea typeface="+mj-ea"/>
              <a:cs typeface="+mj-cs"/>
              <a:sym typeface="Book Antiqua" panose="02040602050305030304" pitchFamily="18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="" xmlns:a16="http://schemas.microsoft.com/office/drawing/2014/main" id="{C57AA163-85DC-4155-9473-D692720D13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Algunas</a:t>
            </a:r>
            <a:r>
              <a:rPr lang="en-US" dirty="0"/>
              <a:t> </a:t>
            </a:r>
            <a:r>
              <a:rPr lang="en-US" dirty="0" err="1"/>
              <a:t>caracteristicas</a:t>
            </a:r>
            <a:r>
              <a:rPr lang="en-US" dirty="0"/>
              <a:t> del nuevo </a:t>
            </a:r>
            <a:r>
              <a:rPr lang="en-US" dirty="0" err="1"/>
              <a:t>profesional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924288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="" xmlns:a16="http://schemas.microsoft.com/office/drawing/2014/main" id="{3F2A837F-D7F7-4382-8D63-8412F2DA18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4058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1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>
            <a:extLst>
              <a:ext uri="{FF2B5EF4-FFF2-40B4-BE49-F238E27FC236}">
                <a16:creationId xmlns="" xmlns:a16="http://schemas.microsoft.com/office/drawing/2014/main" id="{008FE9D5-07B3-4BBE-9145-4E4E0805C88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>
              <a:latin typeface="Book Antiqua" panose="02040602050305030304" pitchFamily="18" charset="0"/>
              <a:ea typeface="+mj-ea"/>
              <a:cs typeface="+mj-cs"/>
              <a:sym typeface="Book Antiqua" panose="02040602050305030304" pitchFamily="18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3D91D7CA-F669-4A4F-892C-ED61D4D4E6BA}"/>
              </a:ext>
            </a:extLst>
          </p:cNvPr>
          <p:cNvSpPr/>
          <p:nvPr/>
        </p:nvSpPr>
        <p:spPr>
          <a:xfrm>
            <a:off x="6091970" y="3948542"/>
            <a:ext cx="3267508" cy="1793650"/>
          </a:xfrm>
          <a:prstGeom prst="rect">
            <a:avLst/>
          </a:prstGeom>
          <a:solidFill>
            <a:srgbClr val="F5E4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7" name="Rectangle 26">
            <a:extLst>
              <a:ext uri="{FF2B5EF4-FFF2-40B4-BE49-F238E27FC236}">
                <a16:creationId xmlns="" xmlns:a16="http://schemas.microsoft.com/office/drawing/2014/main" id="{4E01D00F-7FFD-491D-A4E1-54214D6E0290}"/>
              </a:ext>
            </a:extLst>
          </p:cNvPr>
          <p:cNvSpPr/>
          <p:nvPr/>
        </p:nvSpPr>
        <p:spPr>
          <a:xfrm>
            <a:off x="2799129" y="2140783"/>
            <a:ext cx="3267508" cy="1793650"/>
          </a:xfrm>
          <a:prstGeom prst="rect">
            <a:avLst/>
          </a:prstGeom>
          <a:solidFill>
            <a:srgbClr val="F5E4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2DBB481F-0CBB-4B21-B78E-264AC93B8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atriz</a:t>
            </a:r>
            <a:r>
              <a:rPr lang="en-US" dirty="0"/>
              <a:t> de </a:t>
            </a:r>
            <a:r>
              <a:rPr lang="en-US" dirty="0" err="1"/>
              <a:t>posibilidades</a:t>
            </a:r>
            <a:endParaRPr lang="es-CL" dirty="0"/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D14D10C6-9693-426C-AE9D-E70D8DC0DA59}"/>
              </a:ext>
            </a:extLst>
          </p:cNvPr>
          <p:cNvSpPr txBox="1"/>
          <p:nvPr/>
        </p:nvSpPr>
        <p:spPr>
          <a:xfrm rot="16200000">
            <a:off x="1174963" y="3691745"/>
            <a:ext cx="22193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err="1"/>
              <a:t>Realidad</a:t>
            </a:r>
            <a:endParaRPr lang="es-CL" dirty="0"/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28FE3435-F827-4FB6-B6FA-326543BED8F8}"/>
              </a:ext>
            </a:extLst>
          </p:cNvPr>
          <p:cNvSpPr txBox="1"/>
          <p:nvPr/>
        </p:nvSpPr>
        <p:spPr>
          <a:xfrm>
            <a:off x="5208112" y="6094791"/>
            <a:ext cx="22193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err="1"/>
              <a:t>Posibilidad</a:t>
            </a:r>
            <a:endParaRPr lang="es-CL" dirty="0"/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5ABBE540-98A7-4D33-A102-2308222F050E}"/>
              </a:ext>
            </a:extLst>
          </p:cNvPr>
          <p:cNvSpPr/>
          <p:nvPr/>
        </p:nvSpPr>
        <p:spPr>
          <a:xfrm>
            <a:off x="6284052" y="2351141"/>
            <a:ext cx="283267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 err="1"/>
              <a:t>Realización</a:t>
            </a:r>
            <a:r>
              <a:rPr lang="en-US" dirty="0"/>
              <a:t> de </a:t>
            </a:r>
            <a:r>
              <a:rPr lang="en-US" dirty="0" err="1"/>
              <a:t>posibilidades</a:t>
            </a:r>
            <a:endParaRPr lang="en-US" dirty="0"/>
          </a:p>
          <a:p>
            <a:pPr algn="ctr"/>
            <a:endParaRPr lang="en-US" dirty="0"/>
          </a:p>
          <a:p>
            <a:pPr algn="ctr"/>
            <a:r>
              <a:rPr lang="en-US" dirty="0"/>
              <a:t>Nueva </a:t>
            </a:r>
            <a:r>
              <a:rPr lang="en-US" dirty="0" err="1"/>
              <a:t>realidad</a:t>
            </a:r>
            <a:endParaRPr lang="es-CL" dirty="0"/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7967380D-DECC-44E6-9D4A-1344E679BE57}"/>
              </a:ext>
            </a:extLst>
          </p:cNvPr>
          <p:cNvSpPr/>
          <p:nvPr/>
        </p:nvSpPr>
        <p:spPr>
          <a:xfrm>
            <a:off x="3543500" y="2766640"/>
            <a:ext cx="165622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 err="1"/>
              <a:t>Negocio</a:t>
            </a:r>
            <a:r>
              <a:rPr lang="en-US" dirty="0"/>
              <a:t> usual</a:t>
            </a:r>
            <a:endParaRPr lang="es-CL" dirty="0"/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8E8519D0-63B0-4FAB-8AA4-F5872F3CD0C0}"/>
              </a:ext>
            </a:extLst>
          </p:cNvPr>
          <p:cNvSpPr/>
          <p:nvPr/>
        </p:nvSpPr>
        <p:spPr>
          <a:xfrm>
            <a:off x="3986730" y="4727119"/>
            <a:ext cx="7697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Crisis</a:t>
            </a:r>
            <a:endParaRPr lang="es-CL" dirty="0"/>
          </a:p>
        </p:txBody>
      </p:sp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9968E419-B46D-457A-865B-4D22A422571C}"/>
              </a:ext>
            </a:extLst>
          </p:cNvPr>
          <p:cNvSpPr/>
          <p:nvPr/>
        </p:nvSpPr>
        <p:spPr>
          <a:xfrm>
            <a:off x="6681688" y="4666230"/>
            <a:ext cx="228940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 err="1"/>
              <a:t>Pensar</a:t>
            </a:r>
            <a:r>
              <a:rPr lang="en-US" dirty="0"/>
              <a:t> lo </a:t>
            </a:r>
            <a:r>
              <a:rPr lang="en-US" dirty="0" err="1"/>
              <a:t>inpensable</a:t>
            </a:r>
            <a:endParaRPr lang="es-CL" dirty="0"/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="" xmlns:a16="http://schemas.microsoft.com/office/drawing/2014/main" id="{DE3D7EC3-CBA2-4814-BD87-98EDF19F3EC6}"/>
              </a:ext>
            </a:extLst>
          </p:cNvPr>
          <p:cNvCxnSpPr/>
          <p:nvPr/>
        </p:nvCxnSpPr>
        <p:spPr>
          <a:xfrm>
            <a:off x="2643929" y="5767359"/>
            <a:ext cx="7055141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="" xmlns:a16="http://schemas.microsoft.com/office/drawing/2014/main" id="{97FA0D21-9A84-424D-BF86-B242598CCF39}"/>
              </a:ext>
            </a:extLst>
          </p:cNvPr>
          <p:cNvCxnSpPr>
            <a:cxnSpLocks/>
          </p:cNvCxnSpPr>
          <p:nvPr/>
        </p:nvCxnSpPr>
        <p:spPr>
          <a:xfrm flipV="1">
            <a:off x="2820099" y="1862358"/>
            <a:ext cx="0" cy="4009936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="" xmlns:a16="http://schemas.microsoft.com/office/drawing/2014/main" id="{0CDFDF6E-A7A5-4BF7-939E-20F6AA81C72F}"/>
              </a:ext>
            </a:extLst>
          </p:cNvPr>
          <p:cNvCxnSpPr/>
          <p:nvPr/>
        </p:nvCxnSpPr>
        <p:spPr>
          <a:xfrm>
            <a:off x="2820099" y="3934437"/>
            <a:ext cx="6894352" cy="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="" xmlns:a16="http://schemas.microsoft.com/office/drawing/2014/main" id="{8EF6FA21-1A8B-40E6-8462-396B5B77F9E8}"/>
              </a:ext>
            </a:extLst>
          </p:cNvPr>
          <p:cNvCxnSpPr>
            <a:cxnSpLocks/>
          </p:cNvCxnSpPr>
          <p:nvPr/>
        </p:nvCxnSpPr>
        <p:spPr>
          <a:xfrm flipH="1" flipV="1">
            <a:off x="6066638" y="2087580"/>
            <a:ext cx="25332" cy="3654612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46716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="" xmlns:a16="http://schemas.microsoft.com/office/drawing/2014/main" id="{B29B7EA7-C874-4A3B-A45C-B904AE9044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43060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4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>
            <a:extLst>
              <a:ext uri="{FF2B5EF4-FFF2-40B4-BE49-F238E27FC236}">
                <a16:creationId xmlns="" xmlns:a16="http://schemas.microsoft.com/office/drawing/2014/main" id="{96F6AFD0-7126-49C8-B562-8561CF5772D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>
              <a:latin typeface="Book Antiqua" panose="02040602050305030304" pitchFamily="18" charset="0"/>
              <a:ea typeface="+mj-ea"/>
              <a:cs typeface="+mj-cs"/>
              <a:sym typeface="Book Antiqua" panose="02040602050305030304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775A144-82B9-458A-B941-0DFBDA2622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o de Campo</a:t>
            </a:r>
            <a:endParaRPr lang="es-CL" dirty="0"/>
          </a:p>
        </p:txBody>
      </p:sp>
      <p:sp>
        <p:nvSpPr>
          <p:cNvPr id="4" name="Oval 3">
            <a:extLst>
              <a:ext uri="{FF2B5EF4-FFF2-40B4-BE49-F238E27FC236}">
                <a16:creationId xmlns="" xmlns:a16="http://schemas.microsoft.com/office/drawing/2014/main" id="{D1AB6F2C-7A92-4796-8959-A6303937BF3A}"/>
              </a:ext>
            </a:extLst>
          </p:cNvPr>
          <p:cNvSpPr/>
          <p:nvPr/>
        </p:nvSpPr>
        <p:spPr>
          <a:xfrm>
            <a:off x="5248275" y="3262839"/>
            <a:ext cx="1866900" cy="174138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/>
              <a:t>CAMBIO</a:t>
            </a:r>
            <a:endParaRPr lang="es-CL" sz="2000" dirty="0"/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45C57AA6-DB54-401D-A77D-16EFE12A0158}"/>
              </a:ext>
            </a:extLst>
          </p:cNvPr>
          <p:cNvSpPr txBox="1"/>
          <p:nvPr/>
        </p:nvSpPr>
        <p:spPr>
          <a:xfrm>
            <a:off x="4757737" y="1838325"/>
            <a:ext cx="28479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/>
              <a:t>Factor </a:t>
            </a:r>
            <a:r>
              <a:rPr lang="en-US" sz="2400" dirty="0" err="1"/>
              <a:t>Motivador</a:t>
            </a:r>
            <a:endParaRPr lang="es-CL" sz="2400" dirty="0"/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D8C2EC09-4910-49E0-9523-27FD8C605C46}"/>
              </a:ext>
            </a:extLst>
          </p:cNvPr>
          <p:cNvSpPr txBox="1"/>
          <p:nvPr/>
        </p:nvSpPr>
        <p:spPr>
          <a:xfrm>
            <a:off x="1773062" y="5808107"/>
            <a:ext cx="28479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/>
              <a:t>Factor </a:t>
            </a:r>
            <a:r>
              <a:rPr lang="en-US" sz="2400" dirty="0" err="1"/>
              <a:t>Impulsor</a:t>
            </a:r>
            <a:endParaRPr lang="es-CL" sz="2400" dirty="0"/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A104EEFD-4180-48AD-9833-41695A0E6344}"/>
              </a:ext>
            </a:extLst>
          </p:cNvPr>
          <p:cNvSpPr txBox="1"/>
          <p:nvPr/>
        </p:nvSpPr>
        <p:spPr>
          <a:xfrm>
            <a:off x="7915275" y="5815489"/>
            <a:ext cx="28479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/>
              <a:t>Resistencia</a:t>
            </a:r>
            <a:endParaRPr lang="es-CL" sz="2400" dirty="0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="" xmlns:a16="http://schemas.microsoft.com/office/drawing/2014/main" id="{DE80A861-6064-4F5B-94EC-DA7536C854A4}"/>
              </a:ext>
            </a:extLst>
          </p:cNvPr>
          <p:cNvCxnSpPr>
            <a:stCxn id="5" idx="2"/>
            <a:endCxn id="4" idx="0"/>
          </p:cNvCxnSpPr>
          <p:nvPr/>
        </p:nvCxnSpPr>
        <p:spPr>
          <a:xfrm>
            <a:off x="6181725" y="2299990"/>
            <a:ext cx="0" cy="96284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="" xmlns:a16="http://schemas.microsoft.com/office/drawing/2014/main" id="{A2948652-7596-4C98-AA56-BADE6D7FF835}"/>
              </a:ext>
            </a:extLst>
          </p:cNvPr>
          <p:cNvCxnSpPr>
            <a:stCxn id="7" idx="0"/>
            <a:endCxn id="4" idx="5"/>
          </p:cNvCxnSpPr>
          <p:nvPr/>
        </p:nvCxnSpPr>
        <p:spPr>
          <a:xfrm flipH="1" flipV="1">
            <a:off x="6841774" y="4749201"/>
            <a:ext cx="2497489" cy="10662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="" xmlns:a16="http://schemas.microsoft.com/office/drawing/2014/main" id="{36A3E77F-1D65-4724-B19E-E6685F756D72}"/>
              </a:ext>
            </a:extLst>
          </p:cNvPr>
          <p:cNvCxnSpPr>
            <a:stCxn id="6" idx="0"/>
            <a:endCxn id="4" idx="3"/>
          </p:cNvCxnSpPr>
          <p:nvPr/>
        </p:nvCxnSpPr>
        <p:spPr>
          <a:xfrm flipV="1">
            <a:off x="3197050" y="4749201"/>
            <a:ext cx="2324626" cy="10589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887E3412-3121-4F76-A22D-4D4D98542298}"/>
              </a:ext>
            </a:extLst>
          </p:cNvPr>
          <p:cNvSpPr/>
          <p:nvPr/>
        </p:nvSpPr>
        <p:spPr>
          <a:xfrm>
            <a:off x="4867275" y="1733550"/>
            <a:ext cx="2628900" cy="104775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1FB0CEE6-272B-4499-8523-E87A071FDB6E}"/>
              </a:ext>
            </a:extLst>
          </p:cNvPr>
          <p:cNvSpPr/>
          <p:nvPr/>
        </p:nvSpPr>
        <p:spPr>
          <a:xfrm>
            <a:off x="1788056" y="6269772"/>
            <a:ext cx="2628900" cy="104775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0" name="Rectangle 19">
            <a:extLst>
              <a:ext uri="{FF2B5EF4-FFF2-40B4-BE49-F238E27FC236}">
                <a16:creationId xmlns="" xmlns:a16="http://schemas.microsoft.com/office/drawing/2014/main" id="{07514891-0362-4CA7-B2EC-F049AFD06E52}"/>
              </a:ext>
            </a:extLst>
          </p:cNvPr>
          <p:cNvSpPr/>
          <p:nvPr/>
        </p:nvSpPr>
        <p:spPr>
          <a:xfrm>
            <a:off x="8090518" y="6248281"/>
            <a:ext cx="2628900" cy="104775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630719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4005F7CC-F5DC-4B15-B775-5B45A88CE71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1696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3FD27C00-DB5A-4E12-A5B0-66C42E1B2E16}"/>
              </a:ext>
            </a:extLst>
          </p:cNvPr>
          <p:cNvSpPr txBox="1"/>
          <p:nvPr/>
        </p:nvSpPr>
        <p:spPr>
          <a:xfrm>
            <a:off x="161925" y="3133546"/>
            <a:ext cx="38671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dirty="0" err="1"/>
              <a:t>Adaptación</a:t>
            </a:r>
            <a:r>
              <a:rPr lang="en-US" sz="5400" dirty="0"/>
              <a:t> </a:t>
            </a:r>
          </a:p>
          <a:p>
            <a:r>
              <a:rPr lang="en-US" dirty="0"/>
              <a:t>al Cambio</a:t>
            </a:r>
            <a:endParaRPr lang="es-CL" dirty="0"/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90204F4A-5665-4E44-BF39-DC87DC9F0540}"/>
              </a:ext>
            </a:extLst>
          </p:cNvPr>
          <p:cNvSpPr txBox="1"/>
          <p:nvPr/>
        </p:nvSpPr>
        <p:spPr>
          <a:xfrm>
            <a:off x="4305300" y="3152596"/>
            <a:ext cx="38671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dirty="0" err="1"/>
              <a:t>Posibilidad</a:t>
            </a:r>
            <a:r>
              <a:rPr lang="en-US" sz="5400" dirty="0"/>
              <a:t> </a:t>
            </a:r>
          </a:p>
          <a:p>
            <a:endParaRPr lang="es-CL" dirty="0"/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E89A55E2-642B-4F4C-891C-A68FAD52878F}"/>
              </a:ext>
            </a:extLst>
          </p:cNvPr>
          <p:cNvSpPr txBox="1"/>
          <p:nvPr/>
        </p:nvSpPr>
        <p:spPr>
          <a:xfrm>
            <a:off x="8429625" y="3152596"/>
            <a:ext cx="35433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dirty="0" err="1"/>
              <a:t>Resiliencia</a:t>
            </a:r>
            <a:r>
              <a:rPr lang="en-US" sz="5400" dirty="0"/>
              <a:t> </a:t>
            </a:r>
          </a:p>
          <a:p>
            <a:endParaRPr lang="es-CL" dirty="0"/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9B41C62B-E5BA-4CFD-9C8F-79CA10E27B14}"/>
              </a:ext>
            </a:extLst>
          </p:cNvPr>
          <p:cNvSpPr/>
          <p:nvPr/>
        </p:nvSpPr>
        <p:spPr>
          <a:xfrm>
            <a:off x="247650" y="3095445"/>
            <a:ext cx="3695700" cy="85725"/>
          </a:xfrm>
          <a:prstGeom prst="rect">
            <a:avLst/>
          </a:prstGeom>
          <a:solidFill>
            <a:srgbClr val="F5E4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9EA4BF40-EB52-4DB8-929D-6286A1F3A611}"/>
              </a:ext>
            </a:extLst>
          </p:cNvPr>
          <p:cNvSpPr/>
          <p:nvPr/>
        </p:nvSpPr>
        <p:spPr>
          <a:xfrm>
            <a:off x="4248150" y="4062233"/>
            <a:ext cx="3695700" cy="85725"/>
          </a:xfrm>
          <a:prstGeom prst="rect">
            <a:avLst/>
          </a:prstGeom>
          <a:solidFill>
            <a:srgbClr val="F5E4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68936401-3C54-48F5-A8F1-8761F0776877}"/>
              </a:ext>
            </a:extLst>
          </p:cNvPr>
          <p:cNvSpPr/>
          <p:nvPr/>
        </p:nvSpPr>
        <p:spPr>
          <a:xfrm>
            <a:off x="8277225" y="3095445"/>
            <a:ext cx="3695700" cy="85725"/>
          </a:xfrm>
          <a:prstGeom prst="rect">
            <a:avLst/>
          </a:prstGeom>
          <a:solidFill>
            <a:srgbClr val="F5E4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348449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43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m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q2TPXPvs9kApwsiDhtV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8SsdaXUHrjF4G3TxXsV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K3_mk4Z11VkiL_P9PZs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KwcWuqwrBojbOTvnOGE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PAOvkWNoO83hA0yQ8G0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fcaOZ.0QeBlX2jaFwvC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1nrwwnCSzYOZDy2HeFb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Vpf3lf2GDbW6BPxQBiJ0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rLVGYpKUj5TNZClULsr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q9RFsFFkivH0STFgtXc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avuubK9hj15ZdiSg4b.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8VzkoBOo.F0p2i0NvFj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xnnO9Su0qeU32A0G2IQ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5u0702B1mkBa7O0NnlN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aw7cqGTMe0QKzschCRQ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lAJDybH9KPPatsLnPPc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g83Me4cT2GMrNyoiL0m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qYym57xJkemCNSbkTpm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JtwsYRoQ43REaAIxJvz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.zYdpRf.sgGnvl3W6nI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nHq.ms0WM8n0chPiSXT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LQ7VMOsMtkGGGnH6BWR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.T_vJeAY30G5csmsxXy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XA84F7ErsWv1PEWjeNL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puJcree5ivEF4q0Uptm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mI2qb65R0QHKmke3X0E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ICRxul0Hd0ax9Laz3kj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GrIZUIy_ZZsNX7ODT6b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TufNjHnxA_5IxxFKPNy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Kc4meCiU7dDs7bqRIEG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mZar14BmSy0FC0ZWTyd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CepauQASEfmNvEak178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SdBbwAY5RomgZOk8l5R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v_I3cXCMMT4nTY.E3st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uVBBbwtXI1AdllOnCfm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qBVCH3aVtBLn5IH3PVM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i.0iJaxlctz1mkJMaWv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rTxSmZJAKaCqY__6W60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iaaDCWCzwUikGCDDOse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cIhiLzWQAO68shFGCvR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WcNHJivitAhsJwPeLTW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a0f18zdZECvCiwVWafX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pCEH2IYLxfrb9dvHNCp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GePeqNfxtxLQYkLrwHM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3FqLMRB3WanUkQKYd8T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bapIS2E6WtIRL1yOI..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ble9L304DFNPxQDgC0r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mv_2zWxXlKtNDKTUIUT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9.Hfb7DbMtCpi2wUAeK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pQtx2XI2QORZQTSOyto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TnpoTkEInVJRQOQayIZ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LCyvI5mD400W2VAF.E_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AUnzT_AxUv0YtkBZOn.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y3KR5YmfNzGX8nWuduS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dt1qe4O5e5grOZ7D30.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di5atWlCtRnVULiMgV_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mx4q.pVVay0It8ed_LA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IsONFBMLepMc64TCj6E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r3YJgmWWW5TigG3RErw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8y_HamIC.BGGCsCMyRW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KUkHgk4QfUyU1xkPlrG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0akwF81qq2tEX8FW0NgU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PNW0af0Tjj4Rn3H2VBrX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WkoAxJu43Kbh_4PWq3y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uZ12ELLPw8TcGkLHAFo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yGKSjBmfbBiT9v35uP2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mquu61plE.mmKe0U_rI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_yGQeuBDSHDpxvet2LI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dW7fUzDZSmIgfG9lxrw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iDraDfwNQ1rDDZF9.ge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eK47G3go.1aRTXQNqPg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r6N27bXH_w_NLwVHZtd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.tx_fHX8DcAoQbZNcon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kj9FpvuUdZZkr.LyvGZ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i1Zqz3pId_QXVOSpNpx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tCLAekt1dfHHiQ3kRK4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s1VTkKSeeJBrGf1sUVU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tyfORWE9kEDg5QkDuQz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eystLkGONO4IgiqEVJq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bxKg3OcbWMfCF43lp2m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rjyc6XJWkuXsDQzIxR7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.mAE9EjaY13HV_ca6Bh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ZNvGW1x89ucdIG2PhH.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EgYJGt1KK9dK5nC_Tm8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hbAFGqVbjTlrU9LwUsQ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7602.gsdX5jz.wn0__7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moHbfzT63mihMvLU7IA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RpB2YhuKRZODJIehd_P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fi3omA.dvvsHPvbkBCk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dJlSMWKmQgzdBKAybxJ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gTFOIA6Qiua7yIHxqqb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d0blD.fzNtx6lHSWvtE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zk6mHak4I.QYbb1ewqi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wNNCNL5BK8MGsHuN1NZ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twQTQDiU_H7hVdRxgXk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_OjzWowAdKafSs7lk3D5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JYD1bu3I0p4ggYJ_nlb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lPFkN0BwJsUm3WUFhc.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8dXa44cFusEo_5XbVmY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ZEKDBHaDAusjV1LOfE0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569xWuu12LIjuWT8M9P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hZquYLKOLRzQJg2L84e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4wQHG1yK220wkqtLZUn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7.RTMxYQuZa2Ii6F3Fmd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cEM0ZQY7MJmP3ckiYOX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LN5Tjk18zm3kk9JWf4C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_2TFATN.UoyIabxBLPu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vd3O3JAVjQP0Z.UyO0c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rL26Sw7M.JkrJhOR1v4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SZz.5ikPNDhp_PajcXx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EbH9U0l_ukypOCXZYjU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.INebG5oeu28qtNUp_Uk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NfSYXStGKJ6AE4K1N6B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fUMMwrffDcwQ79QR6_m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9egJDNaxmJG2SRVVi7b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gyQeW0rSUFPF9S5M0Jo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60q_f_dly7X63Ab.VSs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vhSf11MO2uYFs_3LVLY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8bIUAStnn5_l_tl7S6u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Tez_7dQva6QIzI5EF.T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9Apolo_h0h_.KkxpR_M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MH9JN0jumw5lrlDdNlB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svQnDXzLNijz6aDXIMq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7kr20d5Nskq7YHIcWRe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fgaFXA1jRN.6vHmkR9t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_uaz61xsRa1EO3GIqFd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xWGi0Hx8IgWfgTUxB_h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E2KQGLHvS8E_3sqDaxe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cSVAXLXj9.6NbGdT7S3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FL3cb_562qliqtK.xIO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yiLQvZcu.LI0nY.0wr7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28ec9Yz_w1J4OB1l2z2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S7BWXL4hX77h2bRBc1S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PbSGmeuNcokpsn1oTk2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VNCkdx3M11tO1wuSTvf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RnC95xU_6mjrwZ4lRRr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ldq2OWp_p4Z12josQy9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IiAY1hzWqIZDI1thNIY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mPnSrMxq4CRB22iHvrm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rRorm0Phyp0cb_zbkxa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TlcOCWd5rEsAJTY03xy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.OKM32BpeDcuhd6j3d5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.E1CteyBZRIETtGZDAf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6BB4PtdBMcBlqTIf73P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GKRL.B1p6HTwQREN8T7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BkrITT6cfLXSk0ygriA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ve7aU0GJ5gOwM7vaa21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PJQB8.I9ycYDc1Uiztj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aWZzPV3J8ovlGreX5SD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a0d13namha3o.JZ1TaQ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gCkYq7BXLANYoW9ZzC4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4tgVJzZDXV.CTJIcZsC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zCqfLPu5FpfWqVmSqtV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QhTlILcE4NuBt3SIIyl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eK8i_2EMuonmglLCGC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q6thtjvVFlI_Xh7sEaz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pr8mp.7kL1a0w6pqtGv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G5BuWISBAELHlwDCD74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lA3fYz5mqpPGVqkl8wb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HLo4PMx265_CqEWLrTw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pkbvo3hlPseH.w8a5D9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m8KfdO2yAFodHl8NCeq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0yk8u6x047yrq68A6Pm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Jx5T88tCoIu_1DXZx2L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u0_7VwIsfkTfz0tX5nG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13NE0N._kyQ_Py1bM.k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QNYoO27xAioadGBKS7w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enzZ3xRoNp9lrDU5g8v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3u0fJOgju.OJNd9qVBy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M5FELYET7KuMw6LE7nP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u15azmmjoGGldaJ1lIL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tUR.QLUl1CtthEu2mib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JGdkNGI3t1K6aqNjo5V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RGNKJZKAP8ORxig6Cuc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DEQpOg.MmnMTkyIhgUV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gTM5KSunqXBZXKr.nmW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DJQat6I6klqP_fEkyLR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mUnRiDUTH0XKVewxtlW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lMTcwVJejUWSVVf6Q7p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H71tP1aocMvP_V9K8wH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zOdn9qGyNodT8s5CgsX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ku26MB17ayh_y6oTOP0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Xt4N9xPESSEMFSCO8RF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UoRU4JcHWwxIutiBR6o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T0jLopRf0lmZxjdZWpk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dDbifNuEmNqijIxn2Ye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f9qUT86niZDJqRjqJpg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mPYaDNA7e5nAWOLHG8FQ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TbjJ14wRInd_MwnTsvn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5hd.Q0Es0nhmww6W_T9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2KU_37Cu_x2lzfrv._J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kJqlcjRZV4StkYU3EFh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vfRA.d1PjAnEWos.0Ty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v2QdCbyT.lUlFr1PCNtk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yyilYQULXgzGti9A9cY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7lILqON3v8oEPOzL8s.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GDrYPTJmb5j_cmBT6Itg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wptGJ6q3OItbF8uvK9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SBt_xy9Wv9zUl7_5xMu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N4LKyX9Z5XcvKgc7hAt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8Rz0FtGsbLetSHLdAvtQ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FFSUb9zAUvbruwYwWBP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xcIjkOI7N5nbgK5ZvAZg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9KFPWrFOwGPaqm5RMsJ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4C8tI3BfJ934j6IXKGnf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R4HN5SRBtEsUKb_faZj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0mzYzRXvXlvuvY.NK5K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I2HdwxF87WG_HBhcSTR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5igxK07VEl5ci4EHHmrQ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suEapyJruhM.UAyNpeo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Naz22mqM8N1UR6aGE3eg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1pFA4W6spBEQ_fmatZY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WgLQ4OARbT_9xuZCZLa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DG..5TseLQvY7rTQAW_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ERXji6WVGNkwM6ZSAqa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9glBwgpO50hHFOH60Xdg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JNUIpt8HV.bPdiXODlE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a_BxGus5ndD4VnxP.jR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Yz1mOt3AuEh2ryBOBkq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_nNCPbItS5v_2SVwv.e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_x3xRnd5_1ul9emxQo.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T6HyDrpB42SMzkC6LYL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ZtxoZwit7rWqEqXdc7c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hbEmverQf3QRnTW_PtI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9RZIn8n.F26zUyWq9S_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a1iwiGXVvsC5N7foWJy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8E1OTY8DmcYoyF.2bsD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CvWLScG96i7j2UDYDRq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kl3wEWkOGQqnTKSW8cw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1.hXGffiM25iFmpLkTP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r9Q0_6_ttxueC.IA95J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owiiHtaf9UpS0s2Uz_B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WrkBNKY7.pX7xhzH1j.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WdVtIZnu6kGgn14vAZD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ZgYCGbU1ZZg9omx3pfp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43rYYXq4WaqpyAoe3FO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_Ba1_euQ3qQrajjDq9C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B.j0EvmvHLPD0ZqMUu4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PwxDQoNNMiztJadzmYu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ViZ6NxrMtXPxd48D4nl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cvwiVp.zIfgmsR37ECB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UrBxGLP7Vkz.qnKHhgJ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ZrS6EQK8lqRUdEcSw5i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qsYiKYILpyep.TzmNqT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2WGJj8awOjaBsSViNhi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FRtsL_9rBLIUnY1ErmV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s00A1Elb1KxWTWqzcaz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3DEZGcK6hWNoK0iXWbQ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yo2_eY_pHV0HuBA48u9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y8AjhIfLgLGFWb8458Z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iTz.Bro3jbJlcNWou.V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9LNdRjV1ldcG1CbxiyY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Pcylhvxzplqth39vE0b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11HatjmoSJQJCiWmyG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cfgBNtR42GbkNBpK.7_S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lYZhfAPlk1IgldBxNsQ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hITdIEhBcilLwzKUXx5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9vZShEByRD1GD_wpY0D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f2vbY0UCN4KEl1hf8Tb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ZcGz_wix4l55Ngptz_i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NF2FsabxxbsUdHJJgxS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FBLgskITo54Vt_AB4er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khz2Tqze7dIUG7WrjVS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lMueEVkGm4Q4MhzdCdP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jyxW48ck1SvmRSJUuEE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pTzBh_bjRuD4m2.qJaE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Fck0z32hHbViT5nuqk9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UzM0JZlDeBO3XVexfte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jA_CsN2ZTp9RhjC93y7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V.bEE2fD7HgFkDMhH6V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ZJXP0nSi60e1zT.ncP2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qGgiqBbJCcU5K6d6hL_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2wE8mrA7r5qa_DyG26P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51kZ.5HhljY7xx0Ik0E4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jTE3zir_w0gGu1izbaU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leg1_GGShrEF7hciTZv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oqROgV4OXwewUaowSJ9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u9tKx2hibdvwjuYGQyi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PrenB_lGe38S6.q.5P0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Vt_cBMm6V6glonHfdIt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AaCCuJBOd4tYJg5rCkj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64WaEvIzN6ZAbLy5IuR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1K.CbeCDMriAvJ5WLrG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U.WqAL0YAEQf8ZoYOJW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PW58wUH64JGCOQ48GqL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0Ei5508.Lva5Xrb2rYW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6EVGPoQgbhoCDRjEIao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8g9iZmvLmagIh4.Hxrb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dHXDSJGiJwkr8KNoDS9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egM7iQ_0IsYo93gA.vwQ"/>
</p:tagLst>
</file>

<file path=ppt/theme/theme1.xml><?xml version="1.0" encoding="utf-8"?>
<a:theme xmlns:a="http://schemas.openxmlformats.org/drawingml/2006/main" name="Sales Direction 16X9">
  <a:themeElements>
    <a:clrScheme name="Personalizado 6">
      <a:dk1>
        <a:srgbClr val="002060"/>
      </a:dk1>
      <a:lt1>
        <a:srgbClr val="FEFAC9"/>
      </a:lt1>
      <a:dk2>
        <a:srgbClr val="002D89"/>
      </a:dk2>
      <a:lt2>
        <a:srgbClr val="FEFAC9"/>
      </a:lt2>
      <a:accent1>
        <a:srgbClr val="002060"/>
      </a:accent1>
      <a:accent2>
        <a:srgbClr val="E7BC29"/>
      </a:accent2>
      <a:accent3>
        <a:srgbClr val="F0D67E"/>
      </a:accent3>
      <a:accent4>
        <a:srgbClr val="D092A7"/>
      </a:accent4>
      <a:accent5>
        <a:srgbClr val="9C85C0"/>
      </a:accent5>
      <a:accent6>
        <a:srgbClr val="809EC2"/>
      </a:accent6>
      <a:hlink>
        <a:srgbClr val="935409"/>
      </a:hlink>
      <a:folHlink>
        <a:srgbClr val="7A610D"/>
      </a:folHlink>
    </a:clrScheme>
    <a:fontScheme name="Book Antiqua">
      <a:majorFont>
        <a:latin typeface="Book Antiqua"/>
        <a:ea typeface=""/>
        <a:cs typeface=""/>
      </a:majorFont>
      <a:minorFont>
        <a:latin typeface="Book Antiqu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SalesDirection_16x9_TP103431346" id="{7967F6BA-A0E9-4090-803B-5E1B26E67236}" vid="{D2858717-EA9D-40E4-B182-4BE6C8B5EBEC}"/>
    </a:ext>
  </a:extLst>
</a:theme>
</file>

<file path=ppt/theme/theme2.xml><?xml version="1.0" encoding="utf-8"?>
<a:theme xmlns:a="http://schemas.openxmlformats.org/drawingml/2006/main" name="Office Theme">
  <a:themeElements>
    <a:clrScheme name="SalesDirection">
      <a:dk1>
        <a:srgbClr val="595959"/>
      </a:dk1>
      <a:lt1>
        <a:sysClr val="window" lastClr="FFFFFF"/>
      </a:lt1>
      <a:dk2>
        <a:srgbClr val="000000"/>
      </a:dk2>
      <a:lt2>
        <a:srgbClr val="F2F2F2"/>
      </a:lt2>
      <a:accent1>
        <a:srgbClr val="1EB8C1"/>
      </a:accent1>
      <a:accent2>
        <a:srgbClr val="EF7920"/>
      </a:accent2>
      <a:accent3>
        <a:srgbClr val="EFC119"/>
      </a:accent3>
      <a:accent4>
        <a:srgbClr val="969890"/>
      </a:accent4>
      <a:accent5>
        <a:srgbClr val="50B4F2"/>
      </a:accent5>
      <a:accent6>
        <a:srgbClr val="C05A3A"/>
      </a:accent6>
      <a:hlink>
        <a:srgbClr val="EFC119"/>
      </a:hlink>
      <a:folHlink>
        <a:srgbClr val="969890"/>
      </a:folHlink>
    </a:clrScheme>
    <a:fontScheme name="Book Antiqua">
      <a:majorFont>
        <a:latin typeface="Book Antiqua"/>
        <a:ea typeface=""/>
        <a:cs typeface=""/>
      </a:majorFont>
      <a:minorFont>
        <a:latin typeface="Book Antiqu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SalesDirection">
      <a:dk1>
        <a:srgbClr val="595959"/>
      </a:dk1>
      <a:lt1>
        <a:sysClr val="window" lastClr="FFFFFF"/>
      </a:lt1>
      <a:dk2>
        <a:srgbClr val="000000"/>
      </a:dk2>
      <a:lt2>
        <a:srgbClr val="F2F2F2"/>
      </a:lt2>
      <a:accent1>
        <a:srgbClr val="1EB8C1"/>
      </a:accent1>
      <a:accent2>
        <a:srgbClr val="EF7920"/>
      </a:accent2>
      <a:accent3>
        <a:srgbClr val="EFC119"/>
      </a:accent3>
      <a:accent4>
        <a:srgbClr val="969890"/>
      </a:accent4>
      <a:accent5>
        <a:srgbClr val="50B4F2"/>
      </a:accent5>
      <a:accent6>
        <a:srgbClr val="C05A3A"/>
      </a:accent6>
      <a:hlink>
        <a:srgbClr val="EFC119"/>
      </a:hlink>
      <a:folHlink>
        <a:srgbClr val="969890"/>
      </a:folHlink>
    </a:clrScheme>
    <a:fontScheme name="Book Antiqua">
      <a:majorFont>
        <a:latin typeface="Book Antiqua"/>
        <a:ea typeface=""/>
        <a:cs typeface=""/>
      </a:majorFont>
      <a:minorFont>
        <a:latin typeface="Book Antiqu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F0D23229-ACB3-4158-AD37-197CF918333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ción de dirección del negocio (pantalla panorámica)</Template>
  <TotalTime>0</TotalTime>
  <Words>376</Words>
  <Application>Microsoft Office PowerPoint</Application>
  <PresentationFormat>Personalizado</PresentationFormat>
  <Paragraphs>147</Paragraphs>
  <Slides>10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0</vt:i4>
      </vt:variant>
    </vt:vector>
  </HeadingPairs>
  <TitlesOfParts>
    <vt:vector size="12" baseType="lpstr">
      <vt:lpstr>Sales Direction 16X9</vt:lpstr>
      <vt:lpstr>think-cell Slide</vt:lpstr>
      <vt:lpstr>El Nuevo Profesional</vt:lpstr>
      <vt:lpstr>Contexto</vt:lpstr>
      <vt:lpstr>Contexto</vt:lpstr>
      <vt:lpstr>Contexto</vt:lpstr>
      <vt:lpstr>Contexto</vt:lpstr>
      <vt:lpstr>Algunas caracteristicas del nuevo profesional</vt:lpstr>
      <vt:lpstr>Matriz de posibilidades</vt:lpstr>
      <vt:lpstr>Modelo de Campo</vt:lpstr>
      <vt:lpstr>Presentación de PowerPoint</vt:lpstr>
      <vt:lpstr>Muchas gracia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11-18T21:18:27Z</dcterms:created>
  <dcterms:modified xsi:type="dcterms:W3CDTF">2020-12-04T15:21:22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313749991</vt:lpwstr>
  </property>
</Properties>
</file>